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77.xml" ContentType="application/vnd.openxmlformats-officedocument.presentationml.tags+xml"/>
  <Override PartName="/ppt/notesSlides/notesSlide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0.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4.xml" ContentType="application/vnd.openxmlformats-officedocument.drawingml.chart+xml"/>
  <Override PartName="/ppt/tags/tag1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75" r:id="rId2"/>
    <p:sldMasterId id="2147483776" r:id="rId3"/>
    <p:sldMasterId id="2147483788" r:id="rId4"/>
  </p:sldMasterIdLst>
  <p:notesMasterIdLst>
    <p:notesMasterId r:id="rId64"/>
  </p:notesMasterIdLst>
  <p:sldIdLst>
    <p:sldId id="256" r:id="rId5"/>
    <p:sldId id="308" r:id="rId6"/>
    <p:sldId id="311" r:id="rId7"/>
    <p:sldId id="309" r:id="rId8"/>
    <p:sldId id="312" r:id="rId9"/>
    <p:sldId id="342" r:id="rId10"/>
    <p:sldId id="327" r:id="rId11"/>
    <p:sldId id="330" r:id="rId12"/>
    <p:sldId id="345" r:id="rId13"/>
    <p:sldId id="314" r:id="rId14"/>
    <p:sldId id="315" r:id="rId15"/>
    <p:sldId id="340" r:id="rId16"/>
    <p:sldId id="337" r:id="rId17"/>
    <p:sldId id="317" r:id="rId18"/>
    <p:sldId id="318" r:id="rId19"/>
    <p:sldId id="347" r:id="rId20"/>
    <p:sldId id="319" r:id="rId21"/>
    <p:sldId id="322" r:id="rId22"/>
    <p:sldId id="328" r:id="rId23"/>
    <p:sldId id="329" r:id="rId24"/>
    <p:sldId id="323" r:id="rId25"/>
    <p:sldId id="324" r:id="rId26"/>
    <p:sldId id="332" r:id="rId27"/>
    <p:sldId id="325" r:id="rId28"/>
    <p:sldId id="326" r:id="rId29"/>
    <p:sldId id="336" r:id="rId30"/>
    <p:sldId id="282" r:id="rId31"/>
    <p:sldId id="283" r:id="rId32"/>
    <p:sldId id="286" r:id="rId33"/>
    <p:sldId id="302" r:id="rId34"/>
    <p:sldId id="285" r:id="rId35"/>
    <p:sldId id="287" r:id="rId36"/>
    <p:sldId id="281" r:id="rId37"/>
    <p:sldId id="289" r:id="rId38"/>
    <p:sldId id="291" r:id="rId39"/>
    <p:sldId id="296" r:id="rId40"/>
    <p:sldId id="298" r:id="rId41"/>
    <p:sldId id="292" r:id="rId42"/>
    <p:sldId id="293" r:id="rId43"/>
    <p:sldId id="297" r:id="rId44"/>
    <p:sldId id="294" r:id="rId45"/>
    <p:sldId id="295" r:id="rId46"/>
    <p:sldId id="300" r:id="rId47"/>
    <p:sldId id="305" r:id="rId48"/>
    <p:sldId id="303" r:id="rId49"/>
    <p:sldId id="307" r:id="rId50"/>
    <p:sldId id="304" r:id="rId51"/>
    <p:sldId id="264" r:id="rId52"/>
    <p:sldId id="279" r:id="rId53"/>
    <p:sldId id="275" r:id="rId54"/>
    <p:sldId id="276" r:id="rId55"/>
    <p:sldId id="278" r:id="rId56"/>
    <p:sldId id="267" r:id="rId57"/>
    <p:sldId id="280" r:id="rId58"/>
    <p:sldId id="268" r:id="rId59"/>
    <p:sldId id="277" r:id="rId60"/>
    <p:sldId id="316" r:id="rId61"/>
    <p:sldId id="343" r:id="rId62"/>
    <p:sldId id="346"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97F818B-2F8C-42F4-8C37-31F381DC2AF5}">
          <p14:sldIdLst>
            <p14:sldId id="256"/>
            <p14:sldId id="308"/>
            <p14:sldId id="311"/>
            <p14:sldId id="309"/>
            <p14:sldId id="312"/>
            <p14:sldId id="342"/>
            <p14:sldId id="327"/>
            <p14:sldId id="330"/>
            <p14:sldId id="345"/>
            <p14:sldId id="314"/>
            <p14:sldId id="315"/>
            <p14:sldId id="340"/>
            <p14:sldId id="337"/>
            <p14:sldId id="317"/>
            <p14:sldId id="318"/>
            <p14:sldId id="347"/>
            <p14:sldId id="319"/>
            <p14:sldId id="322"/>
            <p14:sldId id="328"/>
            <p14:sldId id="329"/>
            <p14:sldId id="323"/>
            <p14:sldId id="324"/>
            <p14:sldId id="332"/>
            <p14:sldId id="325"/>
            <p14:sldId id="326"/>
          </p14:sldIdLst>
        </p14:section>
        <p14:section name="Reflection" id="{E75038DD-9200-43FF-BEEF-017CC4AB3D64}">
          <p14:sldIdLst>
            <p14:sldId id="336"/>
          </p14:sldIdLst>
        </p14:section>
        <p14:section name="Skeleton" id="{E22845F5-198F-43B0-B41B-431DA0D0F74B}">
          <p14:sldIdLst>
            <p14:sldId id="282"/>
            <p14:sldId id="283"/>
            <p14:sldId id="286"/>
            <p14:sldId id="302"/>
            <p14:sldId id="285"/>
            <p14:sldId id="287"/>
            <p14:sldId id="281"/>
            <p14:sldId id="289"/>
          </p14:sldIdLst>
        </p14:section>
        <p14:section name="Sprint 2" id="{D9D2D49E-8B39-4B02-8FEB-73D2CD59C41F}">
          <p14:sldIdLst>
            <p14:sldId id="291"/>
            <p14:sldId id="296"/>
            <p14:sldId id="298"/>
            <p14:sldId id="292"/>
            <p14:sldId id="293"/>
            <p14:sldId id="297"/>
            <p14:sldId id="294"/>
            <p14:sldId id="295"/>
            <p14:sldId id="300"/>
            <p14:sldId id="305"/>
            <p14:sldId id="303"/>
            <p14:sldId id="307"/>
            <p14:sldId id="304"/>
          </p14:sldIdLst>
        </p14:section>
        <p14:section name="Sprint 1" id="{F0303B4C-AC31-4B7C-8651-670B2FEEEB2F}">
          <p14:sldIdLst>
            <p14:sldId id="264"/>
            <p14:sldId id="279"/>
            <p14:sldId id="275"/>
            <p14:sldId id="276"/>
            <p14:sldId id="278"/>
            <p14:sldId id="267"/>
            <p14:sldId id="280"/>
            <p14:sldId id="268"/>
            <p14:sldId id="277"/>
          </p14:sldIdLst>
        </p14:section>
        <p14:section name="GRAVEYARD" id="{F3F38E80-3752-4FF3-9972-632D43CA083A}">
          <p14:sldIdLst>
            <p14:sldId id="316"/>
            <p14:sldId id="343"/>
            <p14:sldId id="34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4D600"/>
    <a:srgbClr val="A1B8E2"/>
    <a:srgbClr val="6FC2B4"/>
    <a:srgbClr val="203864"/>
    <a:srgbClr val="222A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5000B3-EB1E-DFCB-ECE8-CE18488CF1D1}" v="2818" dt="2023-09-01T04:24:29.668"/>
    <p1510:client id="{4B764EF0-3D8A-B4B7-6A9A-DED2E3B8225D}" v="746" dt="2023-09-01T04:29:05.881"/>
    <p1510:client id="{6FCD85BF-508F-E28D-2FD5-89DC7C2017C7}" v="1" dt="2023-09-01T00:18:11.851"/>
    <p1510:client id="{70C76C3A-7D80-1F02-E2C8-3A61FBA5B244}" v="686" dt="2023-09-01T02:47:50.160"/>
    <p1510:client id="{9A98A1D9-BA3D-A7B6-1601-61EB983289D8}" v="59" dt="2023-08-31T07:01:30.115"/>
    <p1510:client id="{D70BA118-B3E5-9EFD-AA25-61A96818E015}" v="79" dt="2023-08-31T07:00:29.398"/>
    <p1510:client id="{DD93C774-82BE-4DBD-AB5E-BA44CCD0E829}" v="24153" dt="2023-09-01T04:27:09.317"/>
    <p1510:client id="{DF481C1F-49C8-A94C-4E3E-0CA7EC2776CC}" v="161" dt="2023-08-31T06:59:04.564"/>
    <p1510:client id="{E3ED93A8-487F-56B5-3DF5-72F6074D6DE0}" v="52" dt="2023-08-31T20:45:55.873"/>
    <p1510:client id="{FA46BC4D-0A20-8FE0-2A47-ADA5FE0C50E1}" v="121" dt="2023-09-01T04:09:56.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luong31385@gmail.com" userId="S::urn:spo:guest#haluong31385@gmail.com::" providerId="AD" clId="Web-{9A98A1D9-BA3D-A7B6-1601-61EB983289D8}"/>
    <pc:docChg chg="addSld modSld sldOrd modSection">
      <pc:chgData name="haluong31385@gmail.com" userId="S::urn:spo:guest#haluong31385@gmail.com::" providerId="AD" clId="Web-{9A98A1D9-BA3D-A7B6-1601-61EB983289D8}" dt="2023-08-31T07:01:30.115" v="57" actId="14100"/>
      <pc:docMkLst>
        <pc:docMk/>
      </pc:docMkLst>
      <pc:sldChg chg="addSp delSp modSp new mod setBg modClrScheme delDesignElem chgLayout">
        <pc:chgData name="haluong31385@gmail.com" userId="S::urn:spo:guest#haluong31385@gmail.com::" providerId="AD" clId="Web-{9A98A1D9-BA3D-A7B6-1601-61EB983289D8}" dt="2023-08-31T06:59:09.315" v="49" actId="1076"/>
        <pc:sldMkLst>
          <pc:docMk/>
          <pc:sldMk cId="3872987451" sldId="303"/>
        </pc:sldMkLst>
        <pc:spChg chg="del">
          <ac:chgData name="haluong31385@gmail.com" userId="S::urn:spo:guest#haluong31385@gmail.com::" providerId="AD" clId="Web-{9A98A1D9-BA3D-A7B6-1601-61EB983289D8}" dt="2023-08-31T06:58:15.408" v="15"/>
          <ac:spMkLst>
            <pc:docMk/>
            <pc:sldMk cId="3872987451" sldId="303"/>
            <ac:spMk id="2" creationId="{01A356D3-8D8E-B442-CD76-2783AD503583}"/>
          </ac:spMkLst>
        </pc:spChg>
        <pc:spChg chg="del">
          <ac:chgData name="haluong31385@gmail.com" userId="S::urn:spo:guest#haluong31385@gmail.com::" providerId="AD" clId="Web-{9A98A1D9-BA3D-A7B6-1601-61EB983289D8}" dt="2023-08-31T06:58:17.877" v="16"/>
          <ac:spMkLst>
            <pc:docMk/>
            <pc:sldMk cId="3872987451" sldId="303"/>
            <ac:spMk id="3" creationId="{80C8BBD1-9B3A-7426-870C-9FF7314497B8}"/>
          </ac:spMkLst>
        </pc:spChg>
        <pc:spChg chg="add mod ord">
          <ac:chgData name="haluong31385@gmail.com" userId="S::urn:spo:guest#haluong31385@gmail.com::" providerId="AD" clId="Web-{9A98A1D9-BA3D-A7B6-1601-61EB983289D8}" dt="2023-08-31T06:59:09.315" v="49" actId="1076"/>
          <ac:spMkLst>
            <pc:docMk/>
            <pc:sldMk cId="3872987451" sldId="303"/>
            <ac:spMk id="5" creationId="{95B468EE-A229-769A-D964-405494E0C075}"/>
          </ac:spMkLst>
        </pc:spChg>
        <pc:spChg chg="add del">
          <ac:chgData name="haluong31385@gmail.com" userId="S::urn:spo:guest#haluong31385@gmail.com::" providerId="AD" clId="Web-{9A98A1D9-BA3D-A7B6-1601-61EB983289D8}" dt="2023-08-31T06:58:23.517" v="18"/>
          <ac:spMkLst>
            <pc:docMk/>
            <pc:sldMk cId="3872987451" sldId="303"/>
            <ac:spMk id="9" creationId="{42A4FC2C-047E-45A5-965D-8E1E3BF09BC6}"/>
          </ac:spMkLst>
        </pc:spChg>
        <pc:spChg chg="add del">
          <ac:chgData name="haluong31385@gmail.com" userId="S::urn:spo:guest#haluong31385@gmail.com::" providerId="AD" clId="Web-{9A98A1D9-BA3D-A7B6-1601-61EB983289D8}" dt="2023-08-31T06:58:54.846" v="33"/>
          <ac:spMkLst>
            <pc:docMk/>
            <pc:sldMk cId="3872987451" sldId="303"/>
            <ac:spMk id="11" creationId="{83C98ABE-055B-441F-B07E-44F97F083C39}"/>
          </ac:spMkLst>
        </pc:spChg>
        <pc:spChg chg="add del">
          <ac:chgData name="haluong31385@gmail.com" userId="S::urn:spo:guest#haluong31385@gmail.com::" providerId="AD" clId="Web-{9A98A1D9-BA3D-A7B6-1601-61EB983289D8}" dt="2023-08-31T06:58:54.846" v="33"/>
          <ac:spMkLst>
            <pc:docMk/>
            <pc:sldMk cId="3872987451" sldId="303"/>
            <ac:spMk id="12" creationId="{F3060C83-F051-4F0E-ABAD-AA0DFC48B218}"/>
          </ac:spMkLst>
        </pc:spChg>
        <pc:spChg chg="add del">
          <ac:chgData name="haluong31385@gmail.com" userId="S::urn:spo:guest#haluong31385@gmail.com::" providerId="AD" clId="Web-{9A98A1D9-BA3D-A7B6-1601-61EB983289D8}" dt="2023-08-31T06:58:54.846" v="33"/>
          <ac:spMkLst>
            <pc:docMk/>
            <pc:sldMk cId="3872987451" sldId="303"/>
            <ac:spMk id="13" creationId="{29FDB030-9B49-4CED-8CCD-4D99382388AC}"/>
          </ac:spMkLst>
        </pc:spChg>
        <pc:spChg chg="add del">
          <ac:chgData name="haluong31385@gmail.com" userId="S::urn:spo:guest#haluong31385@gmail.com::" providerId="AD" clId="Web-{9A98A1D9-BA3D-A7B6-1601-61EB983289D8}" dt="2023-08-31T06:58:54.846" v="33"/>
          <ac:spMkLst>
            <pc:docMk/>
            <pc:sldMk cId="3872987451" sldId="303"/>
            <ac:spMk id="15" creationId="{3783CA14-24A1-485C-8B30-D6A5D87987AD}"/>
          </ac:spMkLst>
        </pc:spChg>
        <pc:spChg chg="add del">
          <ac:chgData name="haluong31385@gmail.com" userId="S::urn:spo:guest#haluong31385@gmail.com::" providerId="AD" clId="Web-{9A98A1D9-BA3D-A7B6-1601-61EB983289D8}" dt="2023-08-31T06:58:54.846" v="33"/>
          <ac:spMkLst>
            <pc:docMk/>
            <pc:sldMk cId="3872987451" sldId="303"/>
            <ac:spMk id="17" creationId="{9A97C86A-04D6-40F7-AE84-31AB43E6A846}"/>
          </ac:spMkLst>
        </pc:spChg>
        <pc:spChg chg="add del">
          <ac:chgData name="haluong31385@gmail.com" userId="S::urn:spo:guest#haluong31385@gmail.com::" providerId="AD" clId="Web-{9A98A1D9-BA3D-A7B6-1601-61EB983289D8}" dt="2023-08-31T06:58:54.846" v="33"/>
          <ac:spMkLst>
            <pc:docMk/>
            <pc:sldMk cId="3872987451" sldId="303"/>
            <ac:spMk id="19" creationId="{FF9F2414-84E8-453E-B1F3-389FDE8192D9}"/>
          </ac:spMkLst>
        </pc:spChg>
        <pc:spChg chg="add del">
          <ac:chgData name="haluong31385@gmail.com" userId="S::urn:spo:guest#haluong31385@gmail.com::" providerId="AD" clId="Web-{9A98A1D9-BA3D-A7B6-1601-61EB983289D8}" dt="2023-08-31T06:58:54.846" v="33"/>
          <ac:spMkLst>
            <pc:docMk/>
            <pc:sldMk cId="3872987451" sldId="303"/>
            <ac:spMk id="21" creationId="{3ECA69A1-7536-43AC-85EF-C7106179F5ED}"/>
          </ac:spMkLst>
        </pc:spChg>
        <pc:picChg chg="add mod">
          <ac:chgData name="haluong31385@gmail.com" userId="S::urn:spo:guest#haluong31385@gmail.com::" providerId="AD" clId="Web-{9A98A1D9-BA3D-A7B6-1601-61EB983289D8}" dt="2023-08-31T06:58:23.533" v="19"/>
          <ac:picMkLst>
            <pc:docMk/>
            <pc:sldMk cId="3872987451" sldId="303"/>
            <ac:picMk id="4" creationId="{13BA3828-A2A3-26BD-7767-DB4D69F23BE6}"/>
          </ac:picMkLst>
        </pc:picChg>
      </pc:sldChg>
      <pc:sldChg chg="addSp delSp modSp new">
        <pc:chgData name="haluong31385@gmail.com" userId="S::urn:spo:guest#haluong31385@gmail.com::" providerId="AD" clId="Web-{9A98A1D9-BA3D-A7B6-1601-61EB983289D8}" dt="2023-08-31T06:58:38.205" v="32" actId="20577"/>
        <pc:sldMkLst>
          <pc:docMk/>
          <pc:sldMk cId="3352278342" sldId="304"/>
        </pc:sldMkLst>
        <pc:spChg chg="mod">
          <ac:chgData name="haluong31385@gmail.com" userId="S::urn:spo:guest#haluong31385@gmail.com::" providerId="AD" clId="Web-{9A98A1D9-BA3D-A7B6-1601-61EB983289D8}" dt="2023-08-31T06:58:38.205" v="32" actId="20577"/>
          <ac:spMkLst>
            <pc:docMk/>
            <pc:sldMk cId="3352278342" sldId="304"/>
            <ac:spMk id="2" creationId="{A4BC2DC4-A19D-0A0C-D90E-E7A5328AD5DF}"/>
          </ac:spMkLst>
        </pc:spChg>
        <pc:spChg chg="del">
          <ac:chgData name="haluong31385@gmail.com" userId="S::urn:spo:guest#haluong31385@gmail.com::" providerId="AD" clId="Web-{9A98A1D9-BA3D-A7B6-1601-61EB983289D8}" dt="2023-08-31T06:58:28.346" v="20"/>
          <ac:spMkLst>
            <pc:docMk/>
            <pc:sldMk cId="3352278342" sldId="304"/>
            <ac:spMk id="3" creationId="{39842FD6-60FC-76D5-BAA0-B3CE1C58BDA4}"/>
          </ac:spMkLst>
        </pc:spChg>
        <pc:picChg chg="add mod ord">
          <ac:chgData name="haluong31385@gmail.com" userId="S::urn:spo:guest#haluong31385@gmail.com::" providerId="AD" clId="Web-{9A98A1D9-BA3D-A7B6-1601-61EB983289D8}" dt="2023-08-31T06:58:28.346" v="20"/>
          <ac:picMkLst>
            <pc:docMk/>
            <pc:sldMk cId="3352278342" sldId="304"/>
            <ac:picMk id="4" creationId="{CD3C29A8-E217-8E3F-1060-2106FC8EBD3D}"/>
          </ac:picMkLst>
        </pc:picChg>
      </pc:sldChg>
      <pc:sldChg chg="addSp delSp modSp new mod ord setBg">
        <pc:chgData name="haluong31385@gmail.com" userId="S::urn:spo:guest#haluong31385@gmail.com::" providerId="AD" clId="Web-{9A98A1D9-BA3D-A7B6-1601-61EB983289D8}" dt="2023-08-31T06:59:15.456" v="50" actId="14100"/>
        <pc:sldMkLst>
          <pc:docMk/>
          <pc:sldMk cId="1656821240" sldId="305"/>
        </pc:sldMkLst>
        <pc:spChg chg="del">
          <ac:chgData name="haluong31385@gmail.com" userId="S::urn:spo:guest#haluong31385@gmail.com::" providerId="AD" clId="Web-{9A98A1D9-BA3D-A7B6-1601-61EB983289D8}" dt="2023-08-31T06:56:57" v="4"/>
          <ac:spMkLst>
            <pc:docMk/>
            <pc:sldMk cId="1656821240" sldId="305"/>
            <ac:spMk id="2" creationId="{E991AD73-0D37-F1E8-844B-233EB2B7FFCD}"/>
          </ac:spMkLst>
        </pc:spChg>
        <pc:spChg chg="del">
          <ac:chgData name="haluong31385@gmail.com" userId="S::urn:spo:guest#haluong31385@gmail.com::" providerId="AD" clId="Web-{9A98A1D9-BA3D-A7B6-1601-61EB983289D8}" dt="2023-08-31T06:56:51.187" v="3"/>
          <ac:spMkLst>
            <pc:docMk/>
            <pc:sldMk cId="1656821240" sldId="305"/>
            <ac:spMk id="3" creationId="{36B8B9E3-07E4-3BB6-963A-78136750EB2B}"/>
          </ac:spMkLst>
        </pc:spChg>
        <pc:picChg chg="add mod ord">
          <ac:chgData name="haluong31385@gmail.com" userId="S::urn:spo:guest#haluong31385@gmail.com::" providerId="AD" clId="Web-{9A98A1D9-BA3D-A7B6-1601-61EB983289D8}" dt="2023-08-31T06:59:15.456" v="50" actId="14100"/>
          <ac:picMkLst>
            <pc:docMk/>
            <pc:sldMk cId="1656821240" sldId="305"/>
            <ac:picMk id="4" creationId="{3A12E1D0-55DA-039C-CF20-2C354D34F8D7}"/>
          </ac:picMkLst>
        </pc:picChg>
      </pc:sldChg>
      <pc:sldChg chg="addSp modSp new ord">
        <pc:chgData name="haluong31385@gmail.com" userId="S::urn:spo:guest#haluong31385@gmail.com::" providerId="AD" clId="Web-{9A98A1D9-BA3D-A7B6-1601-61EB983289D8}" dt="2023-08-31T07:01:30.115" v="57" actId="14100"/>
        <pc:sldMkLst>
          <pc:docMk/>
          <pc:sldMk cId="4072528254" sldId="307"/>
        </pc:sldMkLst>
        <pc:picChg chg="add mod">
          <ac:chgData name="haluong31385@gmail.com" userId="S::urn:spo:guest#haluong31385@gmail.com::" providerId="AD" clId="Web-{9A98A1D9-BA3D-A7B6-1601-61EB983289D8}" dt="2023-08-31T07:01:30.115" v="57" actId="14100"/>
          <ac:picMkLst>
            <pc:docMk/>
            <pc:sldMk cId="4072528254" sldId="307"/>
            <ac:picMk id="4" creationId="{8BD1715E-4B1B-8242-285E-5E5001F0D3FA}"/>
          </ac:picMkLst>
        </pc:picChg>
      </pc:sldChg>
    </pc:docChg>
  </pc:docChgLst>
  <pc:docChgLst>
    <pc:chgData name="haluong31385@gmail.com" userId="S::urn:spo:guest#haluong31385@gmail.com::" providerId="AD" clId="Web-{C7C3B804-8ECB-07A1-9375-675D4EDEF1B4}"/>
    <pc:docChg chg="addSld delSld modSld modSection">
      <pc:chgData name="haluong31385@gmail.com" userId="S::urn:spo:guest#haluong31385@gmail.com::" providerId="AD" clId="Web-{C7C3B804-8ECB-07A1-9375-675D4EDEF1B4}" dt="2023-08-30T05:12:04.023" v="35"/>
      <pc:docMkLst>
        <pc:docMk/>
      </pc:docMkLst>
      <pc:sldChg chg="addSp delSp modSp modNotes">
        <pc:chgData name="haluong31385@gmail.com" userId="S::urn:spo:guest#haluong31385@gmail.com::" providerId="AD" clId="Web-{C7C3B804-8ECB-07A1-9375-675D4EDEF1B4}" dt="2023-08-30T05:12:04.023" v="35"/>
        <pc:sldMkLst>
          <pc:docMk/>
          <pc:sldMk cId="490561301" sldId="257"/>
        </pc:sldMkLst>
        <pc:spChg chg="mod">
          <ac:chgData name="haluong31385@gmail.com" userId="S::urn:spo:guest#haluong31385@gmail.com::" providerId="AD" clId="Web-{C7C3B804-8ECB-07A1-9375-675D4EDEF1B4}" dt="2023-08-30T05:08:40.831" v="29"/>
          <ac:spMkLst>
            <pc:docMk/>
            <pc:sldMk cId="490561301" sldId="257"/>
            <ac:spMk id="2" creationId="{E6BDE1E1-5FE9-A4A3-000B-465AE01D439E}"/>
          </ac:spMkLst>
        </pc:spChg>
        <pc:spChg chg="del">
          <ac:chgData name="haluong31385@gmail.com" userId="S::urn:spo:guest#haluong31385@gmail.com::" providerId="AD" clId="Web-{C7C3B804-8ECB-07A1-9375-675D4EDEF1B4}" dt="2023-08-30T05:08:47.113" v="30"/>
          <ac:spMkLst>
            <pc:docMk/>
            <pc:sldMk cId="490561301" sldId="257"/>
            <ac:spMk id="3" creationId="{09860535-4701-EE8A-5520-93C2D81CA05D}"/>
          </ac:spMkLst>
        </pc:spChg>
        <pc:spChg chg="add del mod">
          <ac:chgData name="haluong31385@gmail.com" userId="S::urn:spo:guest#haluong31385@gmail.com::" providerId="AD" clId="Web-{C7C3B804-8ECB-07A1-9375-675D4EDEF1B4}" dt="2023-08-30T05:08:35.612" v="28"/>
          <ac:spMkLst>
            <pc:docMk/>
            <pc:sldMk cId="490561301" sldId="257"/>
            <ac:spMk id="5" creationId="{96A12862-AC62-0347-721C-BD4E6325C180}"/>
          </ac:spMkLst>
        </pc:spChg>
        <pc:picChg chg="add mod ord">
          <ac:chgData name="haluong31385@gmail.com" userId="S::urn:spo:guest#haluong31385@gmail.com::" providerId="AD" clId="Web-{C7C3B804-8ECB-07A1-9375-675D4EDEF1B4}" dt="2023-08-30T05:08:58.863" v="34" actId="1076"/>
          <ac:picMkLst>
            <pc:docMk/>
            <pc:sldMk cId="490561301" sldId="257"/>
            <ac:picMk id="6" creationId="{C6318C26-4AC2-6B31-A1BD-DBF44C4C8487}"/>
          </ac:picMkLst>
        </pc:picChg>
      </pc:sldChg>
      <pc:sldChg chg="addSp delSp modSp modNotes">
        <pc:chgData name="haluong31385@gmail.com" userId="S::urn:spo:guest#haluong31385@gmail.com::" providerId="AD" clId="Web-{C7C3B804-8ECB-07A1-9375-675D4EDEF1B4}" dt="2023-08-30T05:08:06.502" v="18"/>
        <pc:sldMkLst>
          <pc:docMk/>
          <pc:sldMk cId="301199972" sldId="258"/>
        </pc:sldMkLst>
        <pc:spChg chg="mod">
          <ac:chgData name="haluong31385@gmail.com" userId="S::urn:spo:guest#haluong31385@gmail.com::" providerId="AD" clId="Web-{C7C3B804-8ECB-07A1-9375-675D4EDEF1B4}" dt="2023-08-30T05:07:31.845" v="12" actId="20577"/>
          <ac:spMkLst>
            <pc:docMk/>
            <pc:sldMk cId="301199972" sldId="258"/>
            <ac:spMk id="2" creationId="{B268F0E9-2D40-3BEE-B5AA-87DC2286AA2F}"/>
          </ac:spMkLst>
        </pc:spChg>
        <pc:spChg chg="del">
          <ac:chgData name="haluong31385@gmail.com" userId="S::urn:spo:guest#haluong31385@gmail.com::" providerId="AD" clId="Web-{C7C3B804-8ECB-07A1-9375-675D4EDEF1B4}" dt="2023-08-30T05:07:31.908" v="13"/>
          <ac:spMkLst>
            <pc:docMk/>
            <pc:sldMk cId="301199972" sldId="258"/>
            <ac:spMk id="3" creationId="{FCD7DC13-7B35-817A-EBB5-DD479B89C6AD}"/>
          </ac:spMkLst>
        </pc:spChg>
        <pc:picChg chg="add mod ord">
          <ac:chgData name="haluong31385@gmail.com" userId="S::urn:spo:guest#haluong31385@gmail.com::" providerId="AD" clId="Web-{C7C3B804-8ECB-07A1-9375-675D4EDEF1B4}" dt="2023-08-30T05:07:42.814" v="17" actId="14100"/>
          <ac:picMkLst>
            <pc:docMk/>
            <pc:sldMk cId="301199972" sldId="258"/>
            <ac:picMk id="5" creationId="{B2C622DA-A3DA-E7A6-30EF-FA7902922A50}"/>
          </ac:picMkLst>
        </pc:picChg>
      </pc:sldChg>
      <pc:sldChg chg="new del">
        <pc:chgData name="haluong31385@gmail.com" userId="S::urn:spo:guest#haluong31385@gmail.com::" providerId="AD" clId="Web-{C7C3B804-8ECB-07A1-9375-675D4EDEF1B4}" dt="2023-08-30T05:08:10.705" v="19"/>
        <pc:sldMkLst>
          <pc:docMk/>
          <pc:sldMk cId="839915710" sldId="274"/>
        </pc:sldMkLst>
      </pc:sldChg>
    </pc:docChg>
  </pc:docChgLst>
  <pc:docChgLst>
    <pc:chgData name="nyvltmichael@gmail.com" userId="S::urn:spo:guest#nyvltmichael@gmail.com::" providerId="AD" clId="Web-{81A98B58-5703-F6F2-7E56-55DECDA4A866}"/>
    <pc:docChg chg="addSld modSld modSection">
      <pc:chgData name="nyvltmichael@gmail.com" userId="S::urn:spo:guest#nyvltmichael@gmail.com::" providerId="AD" clId="Web-{81A98B58-5703-F6F2-7E56-55DECDA4A866}" dt="2023-08-30T05:15:12.238" v="38" actId="1076"/>
      <pc:docMkLst>
        <pc:docMk/>
      </pc:docMkLst>
      <pc:sldChg chg="addSp delSp modSp">
        <pc:chgData name="nyvltmichael@gmail.com" userId="S::urn:spo:guest#nyvltmichael@gmail.com::" providerId="AD" clId="Web-{81A98B58-5703-F6F2-7E56-55DECDA4A866}" dt="2023-08-30T05:15:12.238" v="38" actId="1076"/>
        <pc:sldMkLst>
          <pc:docMk/>
          <pc:sldMk cId="647445535" sldId="264"/>
        </pc:sldMkLst>
        <pc:spChg chg="del">
          <ac:chgData name="nyvltmichael@gmail.com" userId="S::urn:spo:guest#nyvltmichael@gmail.com::" providerId="AD" clId="Web-{81A98B58-5703-F6F2-7E56-55DECDA4A866}" dt="2023-08-30T05:06:59.756" v="0"/>
          <ac:spMkLst>
            <pc:docMk/>
            <pc:sldMk cId="647445535" sldId="264"/>
            <ac:spMk id="3" creationId="{193E7C0A-533B-9951-A2A3-ABEA32848893}"/>
          </ac:spMkLst>
        </pc:spChg>
        <pc:picChg chg="add mod ord">
          <ac:chgData name="nyvltmichael@gmail.com" userId="S::urn:spo:guest#nyvltmichael@gmail.com::" providerId="AD" clId="Web-{81A98B58-5703-F6F2-7E56-55DECDA4A866}" dt="2023-08-30T05:15:12.238" v="38" actId="1076"/>
          <ac:picMkLst>
            <pc:docMk/>
            <pc:sldMk cId="647445535" sldId="264"/>
            <ac:picMk id="5" creationId="{76507ACF-EE59-04D4-509B-CB6401DFEC43}"/>
          </ac:picMkLst>
        </pc:picChg>
        <pc:picChg chg="add del mod">
          <ac:chgData name="nyvltmichael@gmail.com" userId="S::urn:spo:guest#nyvltmichael@gmail.com::" providerId="AD" clId="Web-{81A98B58-5703-F6F2-7E56-55DECDA4A866}" dt="2023-08-30T05:07:14.116" v="3"/>
          <ac:picMkLst>
            <pc:docMk/>
            <pc:sldMk cId="647445535" sldId="264"/>
            <ac:picMk id="6" creationId="{133D1772-A9EA-E856-FE50-BA993A4FF9A7}"/>
          </ac:picMkLst>
        </pc:picChg>
      </pc:sldChg>
      <pc:sldChg chg="addSp delSp modSp new">
        <pc:chgData name="nyvltmichael@gmail.com" userId="S::urn:spo:guest#nyvltmichael@gmail.com::" providerId="AD" clId="Web-{81A98B58-5703-F6F2-7E56-55DECDA4A866}" dt="2023-08-30T05:10:55.379" v="33"/>
        <pc:sldMkLst>
          <pc:docMk/>
          <pc:sldMk cId="3968436325" sldId="275"/>
        </pc:sldMkLst>
        <pc:spChg chg="del">
          <ac:chgData name="nyvltmichael@gmail.com" userId="S::urn:spo:guest#nyvltmichael@gmail.com::" providerId="AD" clId="Web-{81A98B58-5703-F6F2-7E56-55DECDA4A866}" dt="2023-08-30T05:07:57.947" v="7"/>
          <ac:spMkLst>
            <pc:docMk/>
            <pc:sldMk cId="3968436325" sldId="275"/>
            <ac:spMk id="2" creationId="{2C5441A0-840F-4F72-DF24-4C55CDF116AC}"/>
          </ac:spMkLst>
        </pc:spChg>
        <pc:spChg chg="del">
          <ac:chgData name="nyvltmichael@gmail.com" userId="S::urn:spo:guest#nyvltmichael@gmail.com::" providerId="AD" clId="Web-{81A98B58-5703-F6F2-7E56-55DECDA4A866}" dt="2023-08-30T05:07:53.525" v="6"/>
          <ac:spMkLst>
            <pc:docMk/>
            <pc:sldMk cId="3968436325" sldId="275"/>
            <ac:spMk id="3" creationId="{9C04F866-4ADC-A17B-F62A-309321504D49}"/>
          </ac:spMkLst>
        </pc:spChg>
        <pc:spChg chg="add mod">
          <ac:chgData name="nyvltmichael@gmail.com" userId="S::urn:spo:guest#nyvltmichael@gmail.com::" providerId="AD" clId="Web-{81A98B58-5703-F6F2-7E56-55DECDA4A866}" dt="2023-08-30T05:10:55.379" v="33"/>
          <ac:spMkLst>
            <pc:docMk/>
            <pc:sldMk cId="3968436325" sldId="275"/>
            <ac:spMk id="6" creationId="{133B29E3-14C0-F2E8-4D09-F063A3486BE7}"/>
          </ac:spMkLst>
        </pc:spChg>
        <pc:picChg chg="add mod ord">
          <ac:chgData name="nyvltmichael@gmail.com" userId="S::urn:spo:guest#nyvltmichael@gmail.com::" providerId="AD" clId="Web-{81A98B58-5703-F6F2-7E56-55DECDA4A866}" dt="2023-08-30T05:08:05.807" v="9" actId="1076"/>
          <ac:picMkLst>
            <pc:docMk/>
            <pc:sldMk cId="3968436325" sldId="275"/>
            <ac:picMk id="4" creationId="{9C36D794-0A4D-5284-8ACC-4E90A25BA956}"/>
          </ac:picMkLst>
        </pc:picChg>
      </pc:sldChg>
      <pc:sldChg chg="addSp delSp modSp new">
        <pc:chgData name="nyvltmichael@gmail.com" userId="S::urn:spo:guest#nyvltmichael@gmail.com::" providerId="AD" clId="Web-{81A98B58-5703-F6F2-7E56-55DECDA4A866}" dt="2023-08-30T05:10:58.067" v="34"/>
        <pc:sldMkLst>
          <pc:docMk/>
          <pc:sldMk cId="893070438" sldId="276"/>
        </pc:sldMkLst>
        <pc:spChg chg="del">
          <ac:chgData name="nyvltmichael@gmail.com" userId="S::urn:spo:guest#nyvltmichael@gmail.com::" providerId="AD" clId="Web-{81A98B58-5703-F6F2-7E56-55DECDA4A866}" dt="2023-08-30T05:08:33.683" v="12"/>
          <ac:spMkLst>
            <pc:docMk/>
            <pc:sldMk cId="893070438" sldId="276"/>
            <ac:spMk id="2" creationId="{EC88A2A3-1C70-6D0A-BB60-988DDCA64DE7}"/>
          </ac:spMkLst>
        </pc:spChg>
        <pc:spChg chg="del">
          <ac:chgData name="nyvltmichael@gmail.com" userId="S::urn:spo:guest#nyvltmichael@gmail.com::" providerId="AD" clId="Web-{81A98B58-5703-F6F2-7E56-55DECDA4A866}" dt="2023-08-30T05:08:32.168" v="11"/>
          <ac:spMkLst>
            <pc:docMk/>
            <pc:sldMk cId="893070438" sldId="276"/>
            <ac:spMk id="3" creationId="{624B512D-F9E1-A36C-1A4F-EF8E3FDF4CED}"/>
          </ac:spMkLst>
        </pc:spChg>
        <pc:spChg chg="add mod">
          <ac:chgData name="nyvltmichael@gmail.com" userId="S::urn:spo:guest#nyvltmichael@gmail.com::" providerId="AD" clId="Web-{81A98B58-5703-F6F2-7E56-55DECDA4A866}" dt="2023-08-30T05:10:58.067" v="34"/>
          <ac:spMkLst>
            <pc:docMk/>
            <pc:sldMk cId="893070438" sldId="276"/>
            <ac:spMk id="6" creationId="{EC84BFAA-89CB-74C6-AE69-B8E6812D5BCE}"/>
          </ac:spMkLst>
        </pc:spChg>
        <pc:picChg chg="add mod ord">
          <ac:chgData name="nyvltmichael@gmail.com" userId="S::urn:spo:guest#nyvltmichael@gmail.com::" providerId="AD" clId="Web-{81A98B58-5703-F6F2-7E56-55DECDA4A866}" dt="2023-08-30T05:08:40.496" v="14" actId="1076"/>
          <ac:picMkLst>
            <pc:docMk/>
            <pc:sldMk cId="893070438" sldId="276"/>
            <ac:picMk id="4" creationId="{6B02B9E7-0FB9-EA8F-D8D6-91096EDBC351}"/>
          </ac:picMkLst>
        </pc:picChg>
      </pc:sldChg>
      <pc:sldChg chg="addSp delSp modSp new">
        <pc:chgData name="nyvltmichael@gmail.com" userId="S::urn:spo:guest#nyvltmichael@gmail.com::" providerId="AD" clId="Web-{81A98B58-5703-F6F2-7E56-55DECDA4A866}" dt="2023-08-30T05:11:03.489" v="36" actId="1076"/>
        <pc:sldMkLst>
          <pc:docMk/>
          <pc:sldMk cId="825865558" sldId="278"/>
        </pc:sldMkLst>
        <pc:spChg chg="del">
          <ac:chgData name="nyvltmichael@gmail.com" userId="S::urn:spo:guest#nyvltmichael@gmail.com::" providerId="AD" clId="Web-{81A98B58-5703-F6F2-7E56-55DECDA4A866}" dt="2023-08-30T05:09:35.328" v="17"/>
          <ac:spMkLst>
            <pc:docMk/>
            <pc:sldMk cId="825865558" sldId="278"/>
            <ac:spMk id="2" creationId="{A165D93D-81EE-E776-F751-76D1A4CEBF7C}"/>
          </ac:spMkLst>
        </pc:spChg>
        <pc:spChg chg="del">
          <ac:chgData name="nyvltmichael@gmail.com" userId="S::urn:spo:guest#nyvltmichael@gmail.com::" providerId="AD" clId="Web-{81A98B58-5703-F6F2-7E56-55DECDA4A866}" dt="2023-08-30T05:09:33.484" v="16"/>
          <ac:spMkLst>
            <pc:docMk/>
            <pc:sldMk cId="825865558" sldId="278"/>
            <ac:spMk id="3" creationId="{65494B2D-FE9D-51FC-6F1B-64DCFBD67DA3}"/>
          </ac:spMkLst>
        </pc:spChg>
        <pc:spChg chg="add mod">
          <ac:chgData name="nyvltmichael@gmail.com" userId="S::urn:spo:guest#nyvltmichael@gmail.com::" providerId="AD" clId="Web-{81A98B58-5703-F6F2-7E56-55DECDA4A866}" dt="2023-08-30T05:11:00.145" v="35"/>
          <ac:spMkLst>
            <pc:docMk/>
            <pc:sldMk cId="825865558" sldId="278"/>
            <ac:spMk id="6" creationId="{6510A7D2-DEC5-C92C-A40E-F1FC7708EA8D}"/>
          </ac:spMkLst>
        </pc:spChg>
        <pc:picChg chg="add mod ord">
          <ac:chgData name="nyvltmichael@gmail.com" userId="S::urn:spo:guest#nyvltmichael@gmail.com::" providerId="AD" clId="Web-{81A98B58-5703-F6F2-7E56-55DECDA4A866}" dt="2023-08-30T05:11:03.489" v="36" actId="1076"/>
          <ac:picMkLst>
            <pc:docMk/>
            <pc:sldMk cId="825865558" sldId="278"/>
            <ac:picMk id="4" creationId="{E6F109E6-6365-F205-81E3-4CDF7A9032F1}"/>
          </ac:picMkLst>
        </pc:picChg>
      </pc:sldChg>
      <pc:sldChg chg="addSp delSp modSp new">
        <pc:chgData name="nyvltmichael@gmail.com" userId="S::urn:spo:guest#nyvltmichael@gmail.com::" providerId="AD" clId="Web-{81A98B58-5703-F6F2-7E56-55DECDA4A866}" dt="2023-08-30T05:10:47.769" v="32" actId="20577"/>
        <pc:sldMkLst>
          <pc:docMk/>
          <pc:sldMk cId="1497786937" sldId="279"/>
        </pc:sldMkLst>
        <pc:spChg chg="del">
          <ac:chgData name="nyvltmichael@gmail.com" userId="S::urn:spo:guest#nyvltmichael@gmail.com::" providerId="AD" clId="Web-{81A98B58-5703-F6F2-7E56-55DECDA4A866}" dt="2023-08-30T05:10:14.564" v="22"/>
          <ac:spMkLst>
            <pc:docMk/>
            <pc:sldMk cId="1497786937" sldId="279"/>
            <ac:spMk id="2" creationId="{A1DBEABF-B1BD-EE1C-A2FE-C675ABFFCE33}"/>
          </ac:spMkLst>
        </pc:spChg>
        <pc:spChg chg="del">
          <ac:chgData name="nyvltmichael@gmail.com" userId="S::urn:spo:guest#nyvltmichael@gmail.com::" providerId="AD" clId="Web-{81A98B58-5703-F6F2-7E56-55DECDA4A866}" dt="2023-08-30T05:10:13.220" v="21"/>
          <ac:spMkLst>
            <pc:docMk/>
            <pc:sldMk cId="1497786937" sldId="279"/>
            <ac:spMk id="3" creationId="{20951542-8A96-BB03-B43F-43A3474E454D}"/>
          </ac:spMkLst>
        </pc:spChg>
        <pc:spChg chg="add mod">
          <ac:chgData name="nyvltmichael@gmail.com" userId="S::urn:spo:guest#nyvltmichael@gmail.com::" providerId="AD" clId="Web-{81A98B58-5703-F6F2-7E56-55DECDA4A866}" dt="2023-08-30T05:10:47.769" v="32" actId="20577"/>
          <ac:spMkLst>
            <pc:docMk/>
            <pc:sldMk cId="1497786937" sldId="279"/>
            <ac:spMk id="6" creationId="{DC3A30B4-E56A-7CB0-4D1F-36DC5C636394}"/>
          </ac:spMkLst>
        </pc:spChg>
        <pc:picChg chg="add mod ord">
          <ac:chgData name="nyvltmichael@gmail.com" userId="S::urn:spo:guest#nyvltmichael@gmail.com::" providerId="AD" clId="Web-{81A98B58-5703-F6F2-7E56-55DECDA4A866}" dt="2023-08-30T05:10:20.580" v="25" actId="1076"/>
          <ac:picMkLst>
            <pc:docMk/>
            <pc:sldMk cId="1497786937" sldId="279"/>
            <ac:picMk id="4" creationId="{D248BC43-3F42-780D-7B75-1AA5DF8C3964}"/>
          </ac:picMkLst>
        </pc:picChg>
      </pc:sldChg>
    </pc:docChg>
  </pc:docChgLst>
  <pc:docChgLst>
    <pc:chgData name="ca.priyanka.bh@gmail.com" userId="S::urn:spo:guest#ca.priyanka.bh@gmail.com::" providerId="AD" clId="Web-{6FCD85BF-508F-E28D-2FD5-89DC7C2017C7}"/>
    <pc:docChg chg="sldOrd">
      <pc:chgData name="ca.priyanka.bh@gmail.com" userId="S::urn:spo:guest#ca.priyanka.bh@gmail.com::" providerId="AD" clId="Web-{6FCD85BF-508F-E28D-2FD5-89DC7C2017C7}" dt="2023-09-01T00:18:11.851" v="0"/>
      <pc:docMkLst>
        <pc:docMk/>
      </pc:docMkLst>
      <pc:sldChg chg="ord">
        <pc:chgData name="ca.priyanka.bh@gmail.com" userId="S::urn:spo:guest#ca.priyanka.bh@gmail.com::" providerId="AD" clId="Web-{6FCD85BF-508F-E28D-2FD5-89DC7C2017C7}" dt="2023-09-01T00:18:11.851" v="0"/>
        <pc:sldMkLst>
          <pc:docMk/>
          <pc:sldMk cId="1876687592" sldId="312"/>
        </pc:sldMkLst>
      </pc:sldChg>
    </pc:docChg>
  </pc:docChgLst>
  <pc:docChgLst>
    <pc:chgData name="nyvltmichael@gmail.com" userId="S::urn:spo:guest#nyvltmichael@gmail.com::" providerId="AD" clId="Web-{DF481C1F-49C8-A94C-4E3E-0CA7EC2776CC}"/>
    <pc:docChg chg="addSld delSld modSld modSection">
      <pc:chgData name="nyvltmichael@gmail.com" userId="S::urn:spo:guest#nyvltmichael@gmail.com::" providerId="AD" clId="Web-{DF481C1F-49C8-A94C-4E3E-0CA7EC2776CC}" dt="2023-08-31T06:59:01.314" v="151" actId="20577"/>
      <pc:docMkLst>
        <pc:docMk/>
      </pc:docMkLst>
      <pc:sldChg chg="del">
        <pc:chgData name="nyvltmichael@gmail.com" userId="S::urn:spo:guest#nyvltmichael@gmail.com::" providerId="AD" clId="Web-{DF481C1F-49C8-A94C-4E3E-0CA7EC2776CC}" dt="2023-08-31T06:55:53.841" v="126"/>
        <pc:sldMkLst>
          <pc:docMk/>
          <pc:sldMk cId="104398971" sldId="290"/>
        </pc:sldMkLst>
      </pc:sldChg>
      <pc:sldChg chg="addSp delSp modSp">
        <pc:chgData name="nyvltmichael@gmail.com" userId="S::urn:spo:guest#nyvltmichael@gmail.com::" providerId="AD" clId="Web-{DF481C1F-49C8-A94C-4E3E-0CA7EC2776CC}" dt="2023-08-31T06:59:01.314" v="151" actId="20577"/>
        <pc:sldMkLst>
          <pc:docMk/>
          <pc:sldMk cId="1780267266" sldId="291"/>
        </pc:sldMkLst>
        <pc:spChg chg="del">
          <ac:chgData name="nyvltmichael@gmail.com" userId="S::urn:spo:guest#nyvltmichael@gmail.com::" providerId="AD" clId="Web-{DF481C1F-49C8-A94C-4E3E-0CA7EC2776CC}" dt="2023-08-31T06:39:20.958" v="0"/>
          <ac:spMkLst>
            <pc:docMk/>
            <pc:sldMk cId="1780267266" sldId="291"/>
            <ac:spMk id="3" creationId="{7467A666-1D86-3A83-1AD0-BC7FE7914A57}"/>
          </ac:spMkLst>
        </pc:spChg>
        <pc:spChg chg="mod">
          <ac:chgData name="nyvltmichael@gmail.com" userId="S::urn:spo:guest#nyvltmichael@gmail.com::" providerId="AD" clId="Web-{DF481C1F-49C8-A94C-4E3E-0CA7EC2776CC}" dt="2023-08-31T06:59:01.314" v="151" actId="20577"/>
          <ac:spMkLst>
            <pc:docMk/>
            <pc:sldMk cId="1780267266" sldId="291"/>
            <ac:spMk id="4" creationId="{F248D9AB-6A03-9C50-3FF5-0FE9EF1A73DC}"/>
          </ac:spMkLst>
        </pc:spChg>
        <pc:picChg chg="add mod ord">
          <ac:chgData name="nyvltmichael@gmail.com" userId="S::urn:spo:guest#nyvltmichael@gmail.com::" providerId="AD" clId="Web-{DF481C1F-49C8-A94C-4E3E-0CA7EC2776CC}" dt="2023-08-31T06:39:28.849" v="3" actId="1076"/>
          <ac:picMkLst>
            <pc:docMk/>
            <pc:sldMk cId="1780267266" sldId="291"/>
            <ac:picMk id="2" creationId="{4A655DEA-92F9-E526-CA62-0A06CF612EB3}"/>
          </ac:picMkLst>
        </pc:picChg>
      </pc:sldChg>
      <pc:sldChg chg="addSp delSp modSp new">
        <pc:chgData name="nyvltmichael@gmail.com" userId="S::urn:spo:guest#nyvltmichael@gmail.com::" providerId="AD" clId="Web-{DF481C1F-49C8-A94C-4E3E-0CA7EC2776CC}" dt="2023-08-31T06:42:44.416" v="56" actId="20577"/>
        <pc:sldMkLst>
          <pc:docMk/>
          <pc:sldMk cId="1512083056" sldId="296"/>
        </pc:sldMkLst>
        <pc:spChg chg="mod">
          <ac:chgData name="nyvltmichael@gmail.com" userId="S::urn:spo:guest#nyvltmichael@gmail.com::" providerId="AD" clId="Web-{DF481C1F-49C8-A94C-4E3E-0CA7EC2776CC}" dt="2023-08-31T06:42:44.416" v="56" actId="20577"/>
          <ac:spMkLst>
            <pc:docMk/>
            <pc:sldMk cId="1512083056" sldId="296"/>
            <ac:spMk id="2" creationId="{AC1B144E-0582-81F9-7406-FB312B691B5F}"/>
          </ac:spMkLst>
        </pc:spChg>
        <pc:spChg chg="del">
          <ac:chgData name="nyvltmichael@gmail.com" userId="S::urn:spo:guest#nyvltmichael@gmail.com::" providerId="AD" clId="Web-{DF481C1F-49C8-A94C-4E3E-0CA7EC2776CC}" dt="2023-08-31T06:41:49.884" v="25"/>
          <ac:spMkLst>
            <pc:docMk/>
            <pc:sldMk cId="1512083056" sldId="296"/>
            <ac:spMk id="3" creationId="{2F8A3BD6-2F8D-FF07-0CA0-6EE6D78D3138}"/>
          </ac:spMkLst>
        </pc:spChg>
        <pc:picChg chg="add mod ord">
          <ac:chgData name="nyvltmichael@gmail.com" userId="S::urn:spo:guest#nyvltmichael@gmail.com::" providerId="AD" clId="Web-{DF481C1F-49C8-A94C-4E3E-0CA7EC2776CC}" dt="2023-08-31T06:42:31.229" v="35" actId="1076"/>
          <ac:picMkLst>
            <pc:docMk/>
            <pc:sldMk cId="1512083056" sldId="296"/>
            <ac:picMk id="4" creationId="{625115D2-95D7-6070-354B-4E88B37E43B1}"/>
          </ac:picMkLst>
        </pc:picChg>
      </pc:sldChg>
      <pc:sldChg chg="addSp delSp modSp new">
        <pc:chgData name="nyvltmichael@gmail.com" userId="S::urn:spo:guest#nyvltmichael@gmail.com::" providerId="AD" clId="Web-{DF481C1F-49C8-A94C-4E3E-0CA7EC2776CC}" dt="2023-08-31T06:54:59.527" v="125" actId="20577"/>
        <pc:sldMkLst>
          <pc:docMk/>
          <pc:sldMk cId="3453461258" sldId="298"/>
        </pc:sldMkLst>
        <pc:spChg chg="mod">
          <ac:chgData name="nyvltmichael@gmail.com" userId="S::urn:spo:guest#nyvltmichael@gmail.com::" providerId="AD" clId="Web-{DF481C1F-49C8-A94C-4E3E-0CA7EC2776CC}" dt="2023-08-31T06:54:59.527" v="125" actId="20577"/>
          <ac:spMkLst>
            <pc:docMk/>
            <pc:sldMk cId="3453461258" sldId="298"/>
            <ac:spMk id="2" creationId="{A0AB17BB-6910-457E-2A02-0A1BE6FF101F}"/>
          </ac:spMkLst>
        </pc:spChg>
        <pc:spChg chg="del">
          <ac:chgData name="nyvltmichael@gmail.com" userId="S::urn:spo:guest#nyvltmichael@gmail.com::" providerId="AD" clId="Web-{DF481C1F-49C8-A94C-4E3E-0CA7EC2776CC}" dt="2023-08-31T06:49:14.003" v="58"/>
          <ac:spMkLst>
            <pc:docMk/>
            <pc:sldMk cId="3453461258" sldId="298"/>
            <ac:spMk id="3" creationId="{2D281130-859C-9EB6-DA26-4ADF1D4691C2}"/>
          </ac:spMkLst>
        </pc:spChg>
        <pc:spChg chg="add del mod">
          <ac:chgData name="nyvltmichael@gmail.com" userId="S::urn:spo:guest#nyvltmichael@gmail.com::" providerId="AD" clId="Web-{DF481C1F-49C8-A94C-4E3E-0CA7EC2776CC}" dt="2023-08-31T06:50:41.865" v="62"/>
          <ac:spMkLst>
            <pc:docMk/>
            <pc:sldMk cId="3453461258" sldId="298"/>
            <ac:spMk id="6" creationId="{FC370D84-1B67-5101-7060-942025E5A57D}"/>
          </ac:spMkLst>
        </pc:spChg>
        <pc:spChg chg="add del mod">
          <ac:chgData name="nyvltmichael@gmail.com" userId="S::urn:spo:guest#nyvltmichael@gmail.com::" providerId="AD" clId="Web-{DF481C1F-49C8-A94C-4E3E-0CA7EC2776CC}" dt="2023-08-31T06:54:01.510" v="65"/>
          <ac:spMkLst>
            <pc:docMk/>
            <pc:sldMk cId="3453461258" sldId="298"/>
            <ac:spMk id="9" creationId="{40AE7FE6-3C10-6405-97F0-2741AD370498}"/>
          </ac:spMkLst>
        </pc:spChg>
        <pc:picChg chg="add del mod ord">
          <ac:chgData name="nyvltmichael@gmail.com" userId="S::urn:spo:guest#nyvltmichael@gmail.com::" providerId="AD" clId="Web-{DF481C1F-49C8-A94C-4E3E-0CA7EC2776CC}" dt="2023-08-31T06:49:20.316" v="61"/>
          <ac:picMkLst>
            <pc:docMk/>
            <pc:sldMk cId="3453461258" sldId="298"/>
            <ac:picMk id="4" creationId="{EB0850E5-82FB-4BBC-57A5-B83DF2125200}"/>
          </ac:picMkLst>
        </pc:picChg>
        <pc:picChg chg="add del mod ord">
          <ac:chgData name="nyvltmichael@gmail.com" userId="S::urn:spo:guest#nyvltmichael@gmail.com::" providerId="AD" clId="Web-{DF481C1F-49C8-A94C-4E3E-0CA7EC2776CC}" dt="2023-08-31T06:50:49.521" v="64"/>
          <ac:picMkLst>
            <pc:docMk/>
            <pc:sldMk cId="3453461258" sldId="298"/>
            <ac:picMk id="7" creationId="{EEAB193A-4A9E-7311-4D54-37C4E0A6346C}"/>
          </ac:picMkLst>
        </pc:picChg>
        <pc:picChg chg="add mod ord">
          <ac:chgData name="nyvltmichael@gmail.com" userId="S::urn:spo:guest#nyvltmichael@gmail.com::" providerId="AD" clId="Web-{DF481C1F-49C8-A94C-4E3E-0CA7EC2776CC}" dt="2023-08-31T06:54:08.369" v="67" actId="1076"/>
          <ac:picMkLst>
            <pc:docMk/>
            <pc:sldMk cId="3453461258" sldId="298"/>
            <ac:picMk id="10" creationId="{2FEF0D21-E8B9-0C0A-6A15-962B8857F9D5}"/>
          </ac:picMkLst>
        </pc:picChg>
      </pc:sldChg>
    </pc:docChg>
  </pc:docChgLst>
  <pc:docChgLst>
    <pc:chgData name="haluong31385@gmail.com" userId="S::urn:spo:guest#haluong31385@gmail.com::" providerId="AD" clId="Web-{4B764EF0-3D8A-B4B7-6A9A-DED2E3B8225D}"/>
    <pc:docChg chg="addSld delSld modSld sldOrd modSection">
      <pc:chgData name="haluong31385@gmail.com" userId="S::urn:spo:guest#haluong31385@gmail.com::" providerId="AD" clId="Web-{4B764EF0-3D8A-B4B7-6A9A-DED2E3B8225D}" dt="2023-09-01T04:29:05.177" v="479" actId="20577"/>
      <pc:docMkLst>
        <pc:docMk/>
      </pc:docMkLst>
      <pc:sldChg chg="addSp modSp">
        <pc:chgData name="haluong31385@gmail.com" userId="S::urn:spo:guest#haluong31385@gmail.com::" providerId="AD" clId="Web-{4B764EF0-3D8A-B4B7-6A9A-DED2E3B8225D}" dt="2023-09-01T04:29:05.177" v="479" actId="20577"/>
        <pc:sldMkLst>
          <pc:docMk/>
          <pc:sldMk cId="3240303621" sldId="315"/>
        </pc:sldMkLst>
        <pc:spChg chg="add mod">
          <ac:chgData name="haluong31385@gmail.com" userId="S::urn:spo:guest#haluong31385@gmail.com::" providerId="AD" clId="Web-{4B764EF0-3D8A-B4B7-6A9A-DED2E3B8225D}" dt="2023-09-01T04:29:05.177" v="479" actId="20577"/>
          <ac:spMkLst>
            <pc:docMk/>
            <pc:sldMk cId="3240303621" sldId="315"/>
            <ac:spMk id="3" creationId="{AD81009E-9379-A431-BC36-CD2FDCFF5C67}"/>
          </ac:spMkLst>
        </pc:spChg>
        <pc:spChg chg="mod">
          <ac:chgData name="haluong31385@gmail.com" userId="S::urn:spo:guest#haluong31385@gmail.com::" providerId="AD" clId="Web-{4B764EF0-3D8A-B4B7-6A9A-DED2E3B8225D}" dt="2023-09-01T04:27:00.612" v="474" actId="1076"/>
          <ac:spMkLst>
            <pc:docMk/>
            <pc:sldMk cId="3240303621" sldId="315"/>
            <ac:spMk id="7" creationId="{513BF58C-7CA7-D06D-B78A-61738B6293AD}"/>
          </ac:spMkLst>
        </pc:spChg>
        <pc:picChg chg="add mod">
          <ac:chgData name="haluong31385@gmail.com" userId="S::urn:spo:guest#haluong31385@gmail.com::" providerId="AD" clId="Web-{4B764EF0-3D8A-B4B7-6A9A-DED2E3B8225D}" dt="2023-09-01T04:27:06.737" v="476" actId="1076"/>
          <ac:picMkLst>
            <pc:docMk/>
            <pc:sldMk cId="3240303621" sldId="315"/>
            <ac:picMk id="2" creationId="{47C3D12E-F08A-B724-CC5D-460181DD5001}"/>
          </ac:picMkLst>
        </pc:picChg>
      </pc:sldChg>
      <pc:sldChg chg="modSp">
        <pc:chgData name="haluong31385@gmail.com" userId="S::urn:spo:guest#haluong31385@gmail.com::" providerId="AD" clId="Web-{4B764EF0-3D8A-B4B7-6A9A-DED2E3B8225D}" dt="2023-09-01T03:50:18.669" v="460" actId="20577"/>
        <pc:sldMkLst>
          <pc:docMk/>
          <pc:sldMk cId="1970204867" sldId="326"/>
        </pc:sldMkLst>
        <pc:spChg chg="mod">
          <ac:chgData name="haluong31385@gmail.com" userId="S::urn:spo:guest#haluong31385@gmail.com::" providerId="AD" clId="Web-{4B764EF0-3D8A-B4B7-6A9A-DED2E3B8225D}" dt="2023-09-01T03:50:18.669" v="460" actId="20577"/>
          <ac:spMkLst>
            <pc:docMk/>
            <pc:sldMk cId="1970204867" sldId="326"/>
            <ac:spMk id="2" creationId="{18D39382-C967-A7EB-50E1-AA9CD0569124}"/>
          </ac:spMkLst>
        </pc:spChg>
        <pc:spChg chg="mod">
          <ac:chgData name="haluong31385@gmail.com" userId="S::urn:spo:guest#haluong31385@gmail.com::" providerId="AD" clId="Web-{4B764EF0-3D8A-B4B7-6A9A-DED2E3B8225D}" dt="2023-09-01T03:48:04.166" v="458" actId="20577"/>
          <ac:spMkLst>
            <pc:docMk/>
            <pc:sldMk cId="1970204867" sldId="326"/>
            <ac:spMk id="6" creationId="{95F89051-279F-98F0-F3A3-E8717CF3EC24}"/>
          </ac:spMkLst>
        </pc:spChg>
      </pc:sldChg>
      <pc:sldChg chg="modSp">
        <pc:chgData name="haluong31385@gmail.com" userId="S::urn:spo:guest#haluong31385@gmail.com::" providerId="AD" clId="Web-{4B764EF0-3D8A-B4B7-6A9A-DED2E3B8225D}" dt="2023-09-01T02:32:01.569" v="231" actId="1076"/>
        <pc:sldMkLst>
          <pc:docMk/>
          <pc:sldMk cId="3651499539" sldId="337"/>
        </pc:sldMkLst>
        <pc:spChg chg="mod">
          <ac:chgData name="haluong31385@gmail.com" userId="S::urn:spo:guest#haluong31385@gmail.com::" providerId="AD" clId="Web-{4B764EF0-3D8A-B4B7-6A9A-DED2E3B8225D}" dt="2023-09-01T02:32:01.569" v="231" actId="1076"/>
          <ac:spMkLst>
            <pc:docMk/>
            <pc:sldMk cId="3651499539" sldId="337"/>
            <ac:spMk id="8" creationId="{1BAE2D63-2109-85AE-C91E-867FE365D11C}"/>
          </ac:spMkLst>
        </pc:spChg>
        <pc:picChg chg="mod">
          <ac:chgData name="haluong31385@gmail.com" userId="S::urn:spo:guest#haluong31385@gmail.com::" providerId="AD" clId="Web-{4B764EF0-3D8A-B4B7-6A9A-DED2E3B8225D}" dt="2023-09-01T01:39:28.120" v="14" actId="1076"/>
          <ac:picMkLst>
            <pc:docMk/>
            <pc:sldMk cId="3651499539" sldId="337"/>
            <ac:picMk id="2" creationId="{59E734F7-B722-19BD-453E-6DE0957566C4}"/>
          </ac:picMkLst>
        </pc:picChg>
      </pc:sldChg>
      <pc:sldChg chg="addSp delSp modSp new del">
        <pc:chgData name="haluong31385@gmail.com" userId="S::urn:spo:guest#haluong31385@gmail.com::" providerId="AD" clId="Web-{4B764EF0-3D8A-B4B7-6A9A-DED2E3B8225D}" dt="2023-09-01T01:43:41.548" v="96"/>
        <pc:sldMkLst>
          <pc:docMk/>
          <pc:sldMk cId="328401769" sldId="338"/>
        </pc:sldMkLst>
        <pc:spChg chg="mod">
          <ac:chgData name="haluong31385@gmail.com" userId="S::urn:spo:guest#haluong31385@gmail.com::" providerId="AD" clId="Web-{4B764EF0-3D8A-B4B7-6A9A-DED2E3B8225D}" dt="2023-09-01T01:40:54.779" v="19" actId="20577"/>
          <ac:spMkLst>
            <pc:docMk/>
            <pc:sldMk cId="328401769" sldId="338"/>
            <ac:spMk id="2" creationId="{A38E4328-9356-9C9A-C4A4-571AD3AC22A2}"/>
          </ac:spMkLst>
        </pc:spChg>
        <pc:spChg chg="del">
          <ac:chgData name="haluong31385@gmail.com" userId="S::urn:spo:guest#haluong31385@gmail.com::" providerId="AD" clId="Web-{4B764EF0-3D8A-B4B7-6A9A-DED2E3B8225D}" dt="2023-09-01T01:39:07.464" v="8"/>
          <ac:spMkLst>
            <pc:docMk/>
            <pc:sldMk cId="328401769" sldId="338"/>
            <ac:spMk id="3" creationId="{CF72FE79-4803-09D5-F8BF-33AA8B57E7C1}"/>
          </ac:spMkLst>
        </pc:spChg>
        <pc:spChg chg="add del mod">
          <ac:chgData name="haluong31385@gmail.com" userId="S::urn:spo:guest#haluong31385@gmail.com::" providerId="AD" clId="Web-{4B764EF0-3D8A-B4B7-6A9A-DED2E3B8225D}" dt="2023-09-01T01:40:32.575" v="17"/>
          <ac:spMkLst>
            <pc:docMk/>
            <pc:sldMk cId="328401769" sldId="338"/>
            <ac:spMk id="6" creationId="{B0DE69DE-1DD0-0D76-7A0C-DEC835592EFD}"/>
          </ac:spMkLst>
        </pc:spChg>
        <pc:picChg chg="add del mod ord">
          <ac:chgData name="haluong31385@gmail.com" userId="S::urn:spo:guest#haluong31385@gmail.com::" providerId="AD" clId="Web-{4B764EF0-3D8A-B4B7-6A9A-DED2E3B8225D}" dt="2023-09-01T01:39:55.277" v="16"/>
          <ac:picMkLst>
            <pc:docMk/>
            <pc:sldMk cId="328401769" sldId="338"/>
            <ac:picMk id="4" creationId="{B6081E91-8864-60DB-3B85-5AD2A2BCC77F}"/>
          </ac:picMkLst>
        </pc:picChg>
        <pc:picChg chg="add mod ord">
          <ac:chgData name="haluong31385@gmail.com" userId="S::urn:spo:guest#haluong31385@gmail.com::" providerId="AD" clId="Web-{4B764EF0-3D8A-B4B7-6A9A-DED2E3B8225D}" dt="2023-09-01T01:41:06.810" v="24" actId="1076"/>
          <ac:picMkLst>
            <pc:docMk/>
            <pc:sldMk cId="328401769" sldId="338"/>
            <ac:picMk id="7" creationId="{2FEECD3E-3B9D-1897-5909-88150A4F2BE5}"/>
          </ac:picMkLst>
        </pc:picChg>
      </pc:sldChg>
      <pc:sldChg chg="addSp delSp modSp new del">
        <pc:chgData name="haluong31385@gmail.com" userId="S::urn:spo:guest#haluong31385@gmail.com::" providerId="AD" clId="Web-{4B764EF0-3D8A-B4B7-6A9A-DED2E3B8225D}" dt="2023-09-01T01:45:02.691" v="114"/>
        <pc:sldMkLst>
          <pc:docMk/>
          <pc:sldMk cId="1455455363" sldId="339"/>
        </pc:sldMkLst>
        <pc:spChg chg="mod">
          <ac:chgData name="haluong31385@gmail.com" userId="S::urn:spo:guest#haluong31385@gmail.com::" providerId="AD" clId="Web-{4B764EF0-3D8A-B4B7-6A9A-DED2E3B8225D}" dt="2023-09-01T01:42:59.782" v="85" actId="1076"/>
          <ac:spMkLst>
            <pc:docMk/>
            <pc:sldMk cId="1455455363" sldId="339"/>
            <ac:spMk id="2" creationId="{C966BF20-A7F6-95FD-EEA6-B9AC814FF9B7}"/>
          </ac:spMkLst>
        </pc:spChg>
        <pc:spChg chg="del">
          <ac:chgData name="haluong31385@gmail.com" userId="S::urn:spo:guest#haluong31385@gmail.com::" providerId="AD" clId="Web-{4B764EF0-3D8A-B4B7-6A9A-DED2E3B8225D}" dt="2023-09-01T01:42:13.374" v="26"/>
          <ac:spMkLst>
            <pc:docMk/>
            <pc:sldMk cId="1455455363" sldId="339"/>
            <ac:spMk id="3" creationId="{C9752F3C-2D97-62FE-74D6-7331807193C4}"/>
          </ac:spMkLst>
        </pc:spChg>
        <pc:picChg chg="add mod ord">
          <ac:chgData name="haluong31385@gmail.com" userId="S::urn:spo:guest#haluong31385@gmail.com::" providerId="AD" clId="Web-{4B764EF0-3D8A-B4B7-6A9A-DED2E3B8225D}" dt="2023-09-01T01:42:23.187" v="31" actId="1076"/>
          <ac:picMkLst>
            <pc:docMk/>
            <pc:sldMk cId="1455455363" sldId="339"/>
            <ac:picMk id="4" creationId="{E0603D4A-2185-B210-8110-4B52198FFFD8}"/>
          </ac:picMkLst>
        </pc:picChg>
        <pc:picChg chg="mod">
          <ac:chgData name="haluong31385@gmail.com" userId="S::urn:spo:guest#haluong31385@gmail.com::" providerId="AD" clId="Web-{4B764EF0-3D8A-B4B7-6A9A-DED2E3B8225D}" dt="2023-09-01T01:44:41.862" v="112" actId="14100"/>
          <ac:picMkLst>
            <pc:docMk/>
            <pc:sldMk cId="1455455363" sldId="339"/>
            <ac:picMk id="7" creationId="{405C9D72-9E91-85C8-5DD4-71B2D63E27F0}"/>
          </ac:picMkLst>
        </pc:picChg>
      </pc:sldChg>
      <pc:sldChg chg="addSp delSp modSp add replId">
        <pc:chgData name="haluong31385@gmail.com" userId="S::urn:spo:guest#haluong31385@gmail.com::" providerId="AD" clId="Web-{4B764EF0-3D8A-B4B7-6A9A-DED2E3B8225D}" dt="2023-09-01T04:26:53.565" v="472" actId="20577"/>
        <pc:sldMkLst>
          <pc:docMk/>
          <pc:sldMk cId="3090779185" sldId="340"/>
        </pc:sldMkLst>
        <pc:spChg chg="add mod">
          <ac:chgData name="haluong31385@gmail.com" userId="S::urn:spo:guest#haluong31385@gmail.com::" providerId="AD" clId="Web-{4B764EF0-3D8A-B4B7-6A9A-DED2E3B8225D}" dt="2023-09-01T01:43:35.329" v="95" actId="1076"/>
          <ac:spMkLst>
            <pc:docMk/>
            <pc:sldMk cId="3090779185" sldId="340"/>
            <ac:spMk id="8" creationId="{D1B49594-71CB-873B-E076-0A5E0B86F5C0}"/>
          </ac:spMkLst>
        </pc:spChg>
        <pc:spChg chg="mod">
          <ac:chgData name="haluong31385@gmail.com" userId="S::urn:spo:guest#haluong31385@gmail.com::" providerId="AD" clId="Web-{4B764EF0-3D8A-B4B7-6A9A-DED2E3B8225D}" dt="2023-09-01T04:26:53.565" v="472" actId="20577"/>
          <ac:spMkLst>
            <pc:docMk/>
            <pc:sldMk cId="3090779185" sldId="340"/>
            <ac:spMk id="10" creationId="{639B89CE-120E-D75A-2D5F-9AA1A69B7D79}"/>
          </ac:spMkLst>
        </pc:spChg>
        <pc:picChg chg="del">
          <ac:chgData name="haluong31385@gmail.com" userId="S::urn:spo:guest#haluong31385@gmail.com::" providerId="AD" clId="Web-{4B764EF0-3D8A-B4B7-6A9A-DED2E3B8225D}" dt="2023-09-01T01:43:15.735" v="88"/>
          <ac:picMkLst>
            <pc:docMk/>
            <pc:sldMk cId="3090779185" sldId="340"/>
            <ac:picMk id="2" creationId="{47C3D12E-F08A-B724-CC5D-460181DD5001}"/>
          </ac:picMkLst>
        </pc:picChg>
        <pc:picChg chg="add mod">
          <ac:chgData name="haluong31385@gmail.com" userId="S::urn:spo:guest#haluong31385@gmail.com::" providerId="AD" clId="Web-{4B764EF0-3D8A-B4B7-6A9A-DED2E3B8225D}" dt="2023-09-01T01:43:17.454" v="89" actId="1076"/>
          <ac:picMkLst>
            <pc:docMk/>
            <pc:sldMk cId="3090779185" sldId="340"/>
            <ac:picMk id="7" creationId="{D386789E-8295-D657-C7AD-9369839C9312}"/>
          </ac:picMkLst>
        </pc:picChg>
      </pc:sldChg>
      <pc:sldChg chg="addSp modSp add ord replId">
        <pc:chgData name="haluong31385@gmail.com" userId="S::urn:spo:guest#haluong31385@gmail.com::" providerId="AD" clId="Web-{4B764EF0-3D8A-B4B7-6A9A-DED2E3B8225D}" dt="2023-09-01T01:44:50.394" v="113"/>
        <pc:sldMkLst>
          <pc:docMk/>
          <pc:sldMk cId="764394294" sldId="341"/>
        </pc:sldMkLst>
        <pc:spChg chg="mod">
          <ac:chgData name="haluong31385@gmail.com" userId="S::urn:spo:guest#haluong31385@gmail.com::" providerId="AD" clId="Web-{4B764EF0-3D8A-B4B7-6A9A-DED2E3B8225D}" dt="2023-09-01T01:44:29.753" v="110"/>
          <ac:spMkLst>
            <pc:docMk/>
            <pc:sldMk cId="764394294" sldId="341"/>
            <ac:spMk id="8" creationId="{D1B49594-71CB-873B-E076-0A5E0B86F5C0}"/>
          </ac:spMkLst>
        </pc:spChg>
        <pc:picChg chg="add">
          <ac:chgData name="haluong31385@gmail.com" userId="S::urn:spo:guest#haluong31385@gmail.com::" providerId="AD" clId="Web-{4B764EF0-3D8A-B4B7-6A9A-DED2E3B8225D}" dt="2023-09-01T01:43:53.392" v="98"/>
          <ac:picMkLst>
            <pc:docMk/>
            <pc:sldMk cId="764394294" sldId="341"/>
            <ac:picMk id="3" creationId="{6E5F5A25-4D2C-B475-E4EC-0FA215D414DC}"/>
          </ac:picMkLst>
        </pc:picChg>
      </pc:sldChg>
      <pc:sldChg chg="addSp delSp modSp add replId">
        <pc:chgData name="haluong31385@gmail.com" userId="S::urn:spo:guest#haluong31385@gmail.com::" providerId="AD" clId="Web-{4B764EF0-3D8A-B4B7-6A9A-DED2E3B8225D}" dt="2023-09-01T01:47:01.663" v="158" actId="14100"/>
        <pc:sldMkLst>
          <pc:docMk/>
          <pc:sldMk cId="3877301196" sldId="342"/>
        </pc:sldMkLst>
        <pc:spChg chg="del">
          <ac:chgData name="haluong31385@gmail.com" userId="S::urn:spo:guest#haluong31385@gmail.com::" providerId="AD" clId="Web-{4B764EF0-3D8A-B4B7-6A9A-DED2E3B8225D}" dt="2023-09-01T01:46:27.271" v="122"/>
          <ac:spMkLst>
            <pc:docMk/>
            <pc:sldMk cId="3877301196" sldId="342"/>
            <ac:spMk id="16" creationId="{2FF2D8B4-DA3D-E235-A241-0BA0FFB3882F}"/>
          </ac:spMkLst>
        </pc:spChg>
        <pc:spChg chg="del">
          <ac:chgData name="haluong31385@gmail.com" userId="S::urn:spo:guest#haluong31385@gmail.com::" providerId="AD" clId="Web-{4B764EF0-3D8A-B4B7-6A9A-DED2E3B8225D}" dt="2023-09-01T01:46:31.912" v="135"/>
          <ac:spMkLst>
            <pc:docMk/>
            <pc:sldMk cId="3877301196" sldId="342"/>
            <ac:spMk id="18" creationId="{157E2803-2BF7-ABD7-C482-D7A3AD0399C5}"/>
          </ac:spMkLst>
        </pc:spChg>
        <pc:spChg chg="del">
          <ac:chgData name="haluong31385@gmail.com" userId="S::urn:spo:guest#haluong31385@gmail.com::" providerId="AD" clId="Web-{4B764EF0-3D8A-B4B7-6A9A-DED2E3B8225D}" dt="2023-09-01T01:46:31.912" v="134"/>
          <ac:spMkLst>
            <pc:docMk/>
            <pc:sldMk cId="3877301196" sldId="342"/>
            <ac:spMk id="32" creationId="{5D65A820-9D1B-5257-C6AE-25173CA0ECA4}"/>
          </ac:spMkLst>
        </pc:spChg>
        <pc:spChg chg="del">
          <ac:chgData name="haluong31385@gmail.com" userId="S::urn:spo:guest#haluong31385@gmail.com::" providerId="AD" clId="Web-{4B764EF0-3D8A-B4B7-6A9A-DED2E3B8225D}" dt="2023-09-01T01:46:31.912" v="133"/>
          <ac:spMkLst>
            <pc:docMk/>
            <pc:sldMk cId="3877301196" sldId="342"/>
            <ac:spMk id="35" creationId="{546A5A00-4CA4-6B68-3A13-BAD163ADE4E9}"/>
          </ac:spMkLst>
        </pc:spChg>
        <pc:spChg chg="del">
          <ac:chgData name="haluong31385@gmail.com" userId="S::urn:spo:guest#haluong31385@gmail.com::" providerId="AD" clId="Web-{4B764EF0-3D8A-B4B7-6A9A-DED2E3B8225D}" dt="2023-09-01T01:46:31.912" v="132"/>
          <ac:spMkLst>
            <pc:docMk/>
            <pc:sldMk cId="3877301196" sldId="342"/>
            <ac:spMk id="38" creationId="{5561C089-7D65-2038-B31C-5144A665B12B}"/>
          </ac:spMkLst>
        </pc:spChg>
        <pc:spChg chg="del">
          <ac:chgData name="haluong31385@gmail.com" userId="S::urn:spo:guest#haluong31385@gmail.com::" providerId="AD" clId="Web-{4B764EF0-3D8A-B4B7-6A9A-DED2E3B8225D}" dt="2023-09-01T01:46:31.912" v="131"/>
          <ac:spMkLst>
            <pc:docMk/>
            <pc:sldMk cId="3877301196" sldId="342"/>
            <ac:spMk id="44" creationId="{D9120BAD-03CA-94A5-FA00-F7A35DD9A4E5}"/>
          </ac:spMkLst>
        </pc:spChg>
        <pc:spChg chg="del">
          <ac:chgData name="haluong31385@gmail.com" userId="S::urn:spo:guest#haluong31385@gmail.com::" providerId="AD" clId="Web-{4B764EF0-3D8A-B4B7-6A9A-DED2E3B8225D}" dt="2023-09-01T01:46:31.912" v="130"/>
          <ac:spMkLst>
            <pc:docMk/>
            <pc:sldMk cId="3877301196" sldId="342"/>
            <ac:spMk id="47" creationId="{511EC679-FF30-19D6-F9FF-97D86B17C799}"/>
          </ac:spMkLst>
        </pc:spChg>
        <pc:spChg chg="del">
          <ac:chgData name="haluong31385@gmail.com" userId="S::urn:spo:guest#haluong31385@gmail.com::" providerId="AD" clId="Web-{4B764EF0-3D8A-B4B7-6A9A-DED2E3B8225D}" dt="2023-09-01T01:46:31.912" v="129"/>
          <ac:spMkLst>
            <pc:docMk/>
            <pc:sldMk cId="3877301196" sldId="342"/>
            <ac:spMk id="50" creationId="{839135F9-7162-242D-D3FC-A07DA98CD839}"/>
          </ac:spMkLst>
        </pc:spChg>
        <pc:spChg chg="del">
          <ac:chgData name="haluong31385@gmail.com" userId="S::urn:spo:guest#haluong31385@gmail.com::" providerId="AD" clId="Web-{4B764EF0-3D8A-B4B7-6A9A-DED2E3B8225D}" dt="2023-09-01T01:46:31.912" v="128"/>
          <ac:spMkLst>
            <pc:docMk/>
            <pc:sldMk cId="3877301196" sldId="342"/>
            <ac:spMk id="53" creationId="{E31E34D7-53E7-EBEE-CD0F-0434A85EA9DB}"/>
          </ac:spMkLst>
        </pc:spChg>
        <pc:spChg chg="del">
          <ac:chgData name="haluong31385@gmail.com" userId="S::urn:spo:guest#haluong31385@gmail.com::" providerId="AD" clId="Web-{4B764EF0-3D8A-B4B7-6A9A-DED2E3B8225D}" dt="2023-09-01T01:46:42.131" v="146"/>
          <ac:spMkLst>
            <pc:docMk/>
            <pc:sldMk cId="3877301196" sldId="342"/>
            <ac:spMk id="56" creationId="{C3931345-9C13-E839-C086-02A6C84EA14B}"/>
          </ac:spMkLst>
        </pc:spChg>
        <pc:spChg chg="del">
          <ac:chgData name="haluong31385@gmail.com" userId="S::urn:spo:guest#haluong31385@gmail.com::" providerId="AD" clId="Web-{4B764EF0-3D8A-B4B7-6A9A-DED2E3B8225D}" dt="2023-09-01T01:46:31.912" v="127"/>
          <ac:spMkLst>
            <pc:docMk/>
            <pc:sldMk cId="3877301196" sldId="342"/>
            <ac:spMk id="179" creationId="{157E2803-2BF7-ABD7-C482-D7A3AD0399C5}"/>
          </ac:spMkLst>
        </pc:spChg>
        <pc:spChg chg="del">
          <ac:chgData name="haluong31385@gmail.com" userId="S::urn:spo:guest#haluong31385@gmail.com::" providerId="AD" clId="Web-{4B764EF0-3D8A-B4B7-6A9A-DED2E3B8225D}" dt="2023-09-01T01:46:31.912" v="126"/>
          <ac:spMkLst>
            <pc:docMk/>
            <pc:sldMk cId="3877301196" sldId="342"/>
            <ac:spMk id="181" creationId="{157E2803-2BF7-ABD7-C482-D7A3AD0399C5}"/>
          </ac:spMkLst>
        </pc:spChg>
        <pc:spChg chg="del">
          <ac:chgData name="haluong31385@gmail.com" userId="S::urn:spo:guest#haluong31385@gmail.com::" providerId="AD" clId="Web-{4B764EF0-3D8A-B4B7-6A9A-DED2E3B8225D}" dt="2023-09-01T01:46:31.912" v="143"/>
          <ac:spMkLst>
            <pc:docMk/>
            <pc:sldMk cId="3877301196" sldId="342"/>
            <ac:spMk id="240" creationId="{157E2803-2BF7-ABD7-C482-D7A3AD0399C5}"/>
          </ac:spMkLst>
        </pc:spChg>
        <pc:spChg chg="del">
          <ac:chgData name="haluong31385@gmail.com" userId="S::urn:spo:guest#haluong31385@gmail.com::" providerId="AD" clId="Web-{4B764EF0-3D8A-B4B7-6A9A-DED2E3B8225D}" dt="2023-09-01T01:46:31.912" v="142"/>
          <ac:spMkLst>
            <pc:docMk/>
            <pc:sldMk cId="3877301196" sldId="342"/>
            <ac:spMk id="242" creationId="{157E2803-2BF7-ABD7-C482-D7A3AD0399C5}"/>
          </ac:spMkLst>
        </pc:spChg>
        <pc:spChg chg="del">
          <ac:chgData name="haluong31385@gmail.com" userId="S::urn:spo:guest#haluong31385@gmail.com::" providerId="AD" clId="Web-{4B764EF0-3D8A-B4B7-6A9A-DED2E3B8225D}" dt="2023-09-01T01:46:31.912" v="141"/>
          <ac:spMkLst>
            <pc:docMk/>
            <pc:sldMk cId="3877301196" sldId="342"/>
            <ac:spMk id="244" creationId="{157E2803-2BF7-ABD7-C482-D7A3AD0399C5}"/>
          </ac:spMkLst>
        </pc:spChg>
        <pc:spChg chg="del">
          <ac:chgData name="haluong31385@gmail.com" userId="S::urn:spo:guest#haluong31385@gmail.com::" providerId="AD" clId="Web-{4B764EF0-3D8A-B4B7-6A9A-DED2E3B8225D}" dt="2023-09-01T01:46:31.912" v="140"/>
          <ac:spMkLst>
            <pc:docMk/>
            <pc:sldMk cId="3877301196" sldId="342"/>
            <ac:spMk id="246" creationId="{157E2803-2BF7-ABD7-C482-D7A3AD0399C5}"/>
          </ac:spMkLst>
        </pc:spChg>
        <pc:spChg chg="del">
          <ac:chgData name="haluong31385@gmail.com" userId="S::urn:spo:guest#haluong31385@gmail.com::" providerId="AD" clId="Web-{4B764EF0-3D8A-B4B7-6A9A-DED2E3B8225D}" dt="2023-09-01T01:46:31.912" v="139"/>
          <ac:spMkLst>
            <pc:docMk/>
            <pc:sldMk cId="3877301196" sldId="342"/>
            <ac:spMk id="248" creationId="{157E2803-2BF7-ABD7-C482-D7A3AD0399C5}"/>
          </ac:spMkLst>
        </pc:spChg>
        <pc:spChg chg="del">
          <ac:chgData name="haluong31385@gmail.com" userId="S::urn:spo:guest#haluong31385@gmail.com::" providerId="AD" clId="Web-{4B764EF0-3D8A-B4B7-6A9A-DED2E3B8225D}" dt="2023-09-01T01:46:31.912" v="138"/>
          <ac:spMkLst>
            <pc:docMk/>
            <pc:sldMk cId="3877301196" sldId="342"/>
            <ac:spMk id="250" creationId="{157E2803-2BF7-ABD7-C482-D7A3AD0399C5}"/>
          </ac:spMkLst>
        </pc:spChg>
        <pc:spChg chg="del">
          <ac:chgData name="haluong31385@gmail.com" userId="S::urn:spo:guest#haluong31385@gmail.com::" providerId="AD" clId="Web-{4B764EF0-3D8A-B4B7-6A9A-DED2E3B8225D}" dt="2023-09-01T01:46:31.912" v="137"/>
          <ac:spMkLst>
            <pc:docMk/>
            <pc:sldMk cId="3877301196" sldId="342"/>
            <ac:spMk id="252" creationId="{157E2803-2BF7-ABD7-C482-D7A3AD0399C5}"/>
          </ac:spMkLst>
        </pc:spChg>
        <pc:spChg chg="del">
          <ac:chgData name="haluong31385@gmail.com" userId="S::urn:spo:guest#haluong31385@gmail.com::" providerId="AD" clId="Web-{4B764EF0-3D8A-B4B7-6A9A-DED2E3B8225D}" dt="2023-09-01T01:46:31.912" v="136"/>
          <ac:spMkLst>
            <pc:docMk/>
            <pc:sldMk cId="3877301196" sldId="342"/>
            <ac:spMk id="254" creationId="{157E2803-2BF7-ABD7-C482-D7A3AD0399C5}"/>
          </ac:spMkLst>
        </pc:spChg>
        <pc:spChg chg="del">
          <ac:chgData name="haluong31385@gmail.com" userId="S::urn:spo:guest#haluong31385@gmail.com::" providerId="AD" clId="Web-{4B764EF0-3D8A-B4B7-6A9A-DED2E3B8225D}" dt="2023-09-01T01:46:37.381" v="144"/>
          <ac:spMkLst>
            <pc:docMk/>
            <pc:sldMk cId="3877301196" sldId="342"/>
            <ac:spMk id="255" creationId="{157E2803-2BF7-ABD7-C482-D7A3AD0399C5}"/>
          </ac:spMkLst>
        </pc:spChg>
        <pc:spChg chg="del">
          <ac:chgData name="haluong31385@gmail.com" userId="S::urn:spo:guest#haluong31385@gmail.com::" providerId="AD" clId="Web-{4B764EF0-3D8A-B4B7-6A9A-DED2E3B8225D}" dt="2023-09-01T01:46:31.912" v="125"/>
          <ac:spMkLst>
            <pc:docMk/>
            <pc:sldMk cId="3877301196" sldId="342"/>
            <ac:spMk id="293" creationId="{06243DB8-9E33-9898-3406-517912229D25}"/>
          </ac:spMkLst>
        </pc:spChg>
        <pc:spChg chg="del mod">
          <ac:chgData name="haluong31385@gmail.com" userId="S::urn:spo:guest#haluong31385@gmail.com::" providerId="AD" clId="Web-{4B764EF0-3D8A-B4B7-6A9A-DED2E3B8225D}" dt="2023-09-01T01:46:19.646" v="118"/>
          <ac:spMkLst>
            <pc:docMk/>
            <pc:sldMk cId="3877301196" sldId="342"/>
            <ac:spMk id="301" creationId="{9EF14CCA-868D-8F02-BECD-BFD20B06E6AC}"/>
          </ac:spMkLst>
        </pc:spChg>
        <pc:spChg chg="del">
          <ac:chgData name="haluong31385@gmail.com" userId="S::urn:spo:guest#haluong31385@gmail.com::" providerId="AD" clId="Web-{4B764EF0-3D8A-B4B7-6A9A-DED2E3B8225D}" dt="2023-09-01T01:46:31.912" v="124"/>
          <ac:spMkLst>
            <pc:docMk/>
            <pc:sldMk cId="3877301196" sldId="342"/>
            <ac:spMk id="306" creationId="{4B9DE404-AE16-C006-6589-CF1062CF37B5}"/>
          </ac:spMkLst>
        </pc:spChg>
        <pc:spChg chg="del">
          <ac:chgData name="haluong31385@gmail.com" userId="S::urn:spo:guest#haluong31385@gmail.com::" providerId="AD" clId="Web-{4B764EF0-3D8A-B4B7-6A9A-DED2E3B8225D}" dt="2023-09-01T01:46:24.521" v="120"/>
          <ac:spMkLst>
            <pc:docMk/>
            <pc:sldMk cId="3877301196" sldId="342"/>
            <ac:spMk id="308" creationId="{ABF0FE9D-09AF-32EC-4D4A-FF851F625270}"/>
          </ac:spMkLst>
        </pc:spChg>
        <pc:spChg chg="del mod">
          <ac:chgData name="haluong31385@gmail.com" userId="S::urn:spo:guest#haluong31385@gmail.com::" providerId="AD" clId="Web-{4B764EF0-3D8A-B4B7-6A9A-DED2E3B8225D}" dt="2023-09-01T01:46:25.755" v="121"/>
          <ac:spMkLst>
            <pc:docMk/>
            <pc:sldMk cId="3877301196" sldId="342"/>
            <ac:spMk id="316" creationId="{F13E0D91-47D0-DC86-5E67-D0E090E56B2A}"/>
          </ac:spMkLst>
        </pc:spChg>
        <pc:graphicFrameChg chg="del">
          <ac:chgData name="haluong31385@gmail.com" userId="S::urn:spo:guest#haluong31385@gmail.com::" providerId="AD" clId="Web-{4B764EF0-3D8A-B4B7-6A9A-DED2E3B8225D}" dt="2023-09-01T01:46:28.709" v="123"/>
          <ac:graphicFrameMkLst>
            <pc:docMk/>
            <pc:sldMk cId="3877301196" sldId="342"/>
            <ac:graphicFrameMk id="305" creationId="{11B0D806-AACA-4744-9A7D-9BA810E128DD}"/>
          </ac:graphicFrameMkLst>
        </pc:graphicFrameChg>
        <pc:picChg chg="add mod">
          <ac:chgData name="haluong31385@gmail.com" userId="S::urn:spo:guest#haluong31385@gmail.com::" providerId="AD" clId="Web-{4B764EF0-3D8A-B4B7-6A9A-DED2E3B8225D}" dt="2023-09-01T01:47:01.663" v="158" actId="14100"/>
          <ac:picMkLst>
            <pc:docMk/>
            <pc:sldMk cId="3877301196" sldId="342"/>
            <ac:picMk id="2" creationId="{347ED320-D52D-3C94-67D1-E28841100B35}"/>
          </ac:picMkLst>
        </pc:picChg>
        <pc:cxnChg chg="del">
          <ac:chgData name="haluong31385@gmail.com" userId="S::urn:spo:guest#haluong31385@gmail.com::" providerId="AD" clId="Web-{4B764EF0-3D8A-B4B7-6A9A-DED2E3B8225D}" dt="2023-09-01T01:46:42.131" v="152"/>
          <ac:cxnSpMkLst>
            <pc:docMk/>
            <pc:sldMk cId="3877301196" sldId="342"/>
            <ac:cxnSpMk id="98" creationId="{8DAFAC4F-3EB3-9F0A-4A9C-84F583EBFCB8}"/>
          </ac:cxnSpMkLst>
        </pc:cxnChg>
        <pc:cxnChg chg="del">
          <ac:chgData name="haluong31385@gmail.com" userId="S::urn:spo:guest#haluong31385@gmail.com::" providerId="AD" clId="Web-{4B764EF0-3D8A-B4B7-6A9A-DED2E3B8225D}" dt="2023-09-01T01:46:42.131" v="148"/>
          <ac:cxnSpMkLst>
            <pc:docMk/>
            <pc:sldMk cId="3877301196" sldId="342"/>
            <ac:cxnSpMk id="102" creationId="{F4538D00-4BD8-6433-C4C2-5FE70C55745A}"/>
          </ac:cxnSpMkLst>
        </pc:cxnChg>
        <pc:cxnChg chg="del">
          <ac:chgData name="haluong31385@gmail.com" userId="S::urn:spo:guest#haluong31385@gmail.com::" providerId="AD" clId="Web-{4B764EF0-3D8A-B4B7-6A9A-DED2E3B8225D}" dt="2023-09-01T01:46:42.131" v="154"/>
          <ac:cxnSpMkLst>
            <pc:docMk/>
            <pc:sldMk cId="3877301196" sldId="342"/>
            <ac:cxnSpMk id="182" creationId="{C99902B9-0FA3-B68C-5B6F-2EF72C4B19E3}"/>
          </ac:cxnSpMkLst>
        </pc:cxnChg>
        <pc:cxnChg chg="del">
          <ac:chgData name="haluong31385@gmail.com" userId="S::urn:spo:guest#haluong31385@gmail.com::" providerId="AD" clId="Web-{4B764EF0-3D8A-B4B7-6A9A-DED2E3B8225D}" dt="2023-09-01T01:46:42.131" v="153"/>
          <ac:cxnSpMkLst>
            <pc:docMk/>
            <pc:sldMk cId="3877301196" sldId="342"/>
            <ac:cxnSpMk id="184" creationId="{ABCBEDE8-3DAE-F0D1-0536-3C04171F416B}"/>
          </ac:cxnSpMkLst>
        </pc:cxnChg>
        <pc:cxnChg chg="del">
          <ac:chgData name="haluong31385@gmail.com" userId="S::urn:spo:guest#haluong31385@gmail.com::" providerId="AD" clId="Web-{4B764EF0-3D8A-B4B7-6A9A-DED2E3B8225D}" dt="2023-09-01T01:46:42.131" v="151"/>
          <ac:cxnSpMkLst>
            <pc:docMk/>
            <pc:sldMk cId="3877301196" sldId="342"/>
            <ac:cxnSpMk id="187" creationId="{0218EC8E-0026-245D-50D0-282EDFF5C4EF}"/>
          </ac:cxnSpMkLst>
        </pc:cxnChg>
        <pc:cxnChg chg="del">
          <ac:chgData name="haluong31385@gmail.com" userId="S::urn:spo:guest#haluong31385@gmail.com::" providerId="AD" clId="Web-{4B764EF0-3D8A-B4B7-6A9A-DED2E3B8225D}" dt="2023-09-01T01:46:38.849" v="145"/>
          <ac:cxnSpMkLst>
            <pc:docMk/>
            <pc:sldMk cId="3877301196" sldId="342"/>
            <ac:cxnSpMk id="189" creationId="{01BA8F64-F7B2-2CE3-3519-B456AA33B361}"/>
          </ac:cxnSpMkLst>
        </pc:cxnChg>
        <pc:cxnChg chg="del">
          <ac:chgData name="haluong31385@gmail.com" userId="S::urn:spo:guest#haluong31385@gmail.com::" providerId="AD" clId="Web-{4B764EF0-3D8A-B4B7-6A9A-DED2E3B8225D}" dt="2023-09-01T01:46:42.131" v="150"/>
          <ac:cxnSpMkLst>
            <pc:docMk/>
            <pc:sldMk cId="3877301196" sldId="342"/>
            <ac:cxnSpMk id="190" creationId="{55A74CDA-9ECD-6055-2CA4-BC8BB40187CC}"/>
          </ac:cxnSpMkLst>
        </pc:cxnChg>
        <pc:cxnChg chg="del">
          <ac:chgData name="haluong31385@gmail.com" userId="S::urn:spo:guest#haluong31385@gmail.com::" providerId="AD" clId="Web-{4B764EF0-3D8A-B4B7-6A9A-DED2E3B8225D}" dt="2023-09-01T01:46:42.131" v="149"/>
          <ac:cxnSpMkLst>
            <pc:docMk/>
            <pc:sldMk cId="3877301196" sldId="342"/>
            <ac:cxnSpMk id="192" creationId="{6EDCA7C2-484A-A394-C20E-9A1BB10D7FC4}"/>
          </ac:cxnSpMkLst>
        </pc:cxnChg>
        <pc:cxnChg chg="del">
          <ac:chgData name="haluong31385@gmail.com" userId="S::urn:spo:guest#haluong31385@gmail.com::" providerId="AD" clId="Web-{4B764EF0-3D8A-B4B7-6A9A-DED2E3B8225D}" dt="2023-09-01T01:46:42.131" v="147"/>
          <ac:cxnSpMkLst>
            <pc:docMk/>
            <pc:sldMk cId="3877301196" sldId="342"/>
            <ac:cxnSpMk id="195" creationId="{31C3C65B-D6B9-16F6-ED82-CD057076DD08}"/>
          </ac:cxnSpMkLst>
        </pc:cxnChg>
      </pc:sldChg>
      <pc:sldChg chg="addSp delSp modSp add replId">
        <pc:chgData name="haluong31385@gmail.com" userId="S::urn:spo:guest#haluong31385@gmail.com::" providerId="AD" clId="Web-{4B764EF0-3D8A-B4B7-6A9A-DED2E3B8225D}" dt="2023-09-01T02:01:22.683" v="216" actId="14100"/>
        <pc:sldMkLst>
          <pc:docMk/>
          <pc:sldMk cId="4050671445" sldId="343"/>
        </pc:sldMkLst>
        <pc:spChg chg="del">
          <ac:chgData name="haluong31385@gmail.com" userId="S::urn:spo:guest#haluong31385@gmail.com::" providerId="AD" clId="Web-{4B764EF0-3D8A-B4B7-6A9A-DED2E3B8225D}" dt="2023-09-01T01:48:40.321" v="162"/>
          <ac:spMkLst>
            <pc:docMk/>
            <pc:sldMk cId="4050671445" sldId="343"/>
            <ac:spMk id="8" creationId="{1BAE2D63-2109-85AE-C91E-867FE365D11C}"/>
          </ac:spMkLst>
        </pc:spChg>
        <pc:spChg chg="del">
          <ac:chgData name="haluong31385@gmail.com" userId="S::urn:spo:guest#haluong31385@gmail.com::" providerId="AD" clId="Web-{4B764EF0-3D8A-B4B7-6A9A-DED2E3B8225D}" dt="2023-09-01T01:48:39.259" v="161"/>
          <ac:spMkLst>
            <pc:docMk/>
            <pc:sldMk cId="4050671445" sldId="343"/>
            <ac:spMk id="9" creationId="{6F7D9B9E-5B4A-23E4-83B2-6249E8303DE2}"/>
          </ac:spMkLst>
        </pc:spChg>
        <pc:spChg chg="add mod">
          <ac:chgData name="haluong31385@gmail.com" userId="S::urn:spo:guest#haluong31385@gmail.com::" providerId="AD" clId="Web-{4B764EF0-3D8A-B4B7-6A9A-DED2E3B8225D}" dt="2023-09-01T02:01:22.683" v="216" actId="14100"/>
          <ac:spMkLst>
            <pc:docMk/>
            <pc:sldMk cId="4050671445" sldId="343"/>
            <ac:spMk id="11" creationId="{51ABDB50-1370-FADA-A475-86B3144AFE9E}"/>
          </ac:spMkLst>
        </pc:spChg>
        <pc:picChg chg="add del mod">
          <ac:chgData name="haluong31385@gmail.com" userId="S::urn:spo:guest#haluong31385@gmail.com::" providerId="AD" clId="Web-{4B764EF0-3D8A-B4B7-6A9A-DED2E3B8225D}" dt="2023-09-01T02:00:12.275" v="207"/>
          <ac:picMkLst>
            <pc:docMk/>
            <pc:sldMk cId="4050671445" sldId="343"/>
            <ac:picMk id="2" creationId="{18EA1CEB-8F93-1EE1-BF3C-3F4EF02E9A1E}"/>
          </ac:picMkLst>
        </pc:picChg>
        <pc:picChg chg="del">
          <ac:chgData name="haluong31385@gmail.com" userId="S::urn:spo:guest#haluong31385@gmail.com::" providerId="AD" clId="Web-{4B764EF0-3D8A-B4B7-6A9A-DED2E3B8225D}" dt="2023-09-01T01:48:37.774" v="160"/>
          <ac:picMkLst>
            <pc:docMk/>
            <pc:sldMk cId="4050671445" sldId="343"/>
            <ac:picMk id="3" creationId="{6E2AE3E4-1E8B-C69F-7B23-2E342357B59C}"/>
          </ac:picMkLst>
        </pc:picChg>
        <pc:picChg chg="add mod">
          <ac:chgData name="haluong31385@gmail.com" userId="S::urn:spo:guest#haluong31385@gmail.com::" providerId="AD" clId="Web-{4B764EF0-3D8A-B4B7-6A9A-DED2E3B8225D}" dt="2023-09-01T02:00:39.651" v="212" actId="1076"/>
          <ac:picMkLst>
            <pc:docMk/>
            <pc:sldMk cId="4050671445" sldId="343"/>
            <ac:picMk id="10" creationId="{CF752B3D-9867-B01C-CBC6-DE6C4F947734}"/>
          </ac:picMkLst>
        </pc:picChg>
      </pc:sldChg>
      <pc:sldChg chg="add replId">
        <pc:chgData name="haluong31385@gmail.com" userId="S::urn:spo:guest#haluong31385@gmail.com::" providerId="AD" clId="Web-{4B764EF0-3D8A-B4B7-6A9A-DED2E3B8225D}" dt="2023-09-01T02:00:04.588" v="206"/>
        <pc:sldMkLst>
          <pc:docMk/>
          <pc:sldMk cId="702575340" sldId="346"/>
        </pc:sldMkLst>
      </pc:sldChg>
    </pc:docChg>
  </pc:docChgLst>
  <pc:docChgLst>
    <pc:chgData name="Lim, Sharon" userId="9ed40bdc-079d-4cee-a990-4411351f7f9c" providerId="ADAL" clId="{DD93C774-82BE-4DBD-AB5E-BA44CCD0E829}"/>
    <pc:docChg chg="undo custSel addSld delSld modSld sldOrd modMainMaster addSection modSection replTag">
      <pc:chgData name="Lim, Sharon" userId="9ed40bdc-079d-4cee-a990-4411351f7f9c" providerId="ADAL" clId="{DD93C774-82BE-4DBD-AB5E-BA44CCD0E829}" dt="2023-09-01T04:27:09.317" v="67525"/>
      <pc:docMkLst>
        <pc:docMk/>
      </pc:docMkLst>
      <pc:sldChg chg="addSp delSp modSp mod">
        <pc:chgData name="Lim, Sharon" userId="9ed40bdc-079d-4cee-a990-4411351f7f9c" providerId="ADAL" clId="{DD93C774-82BE-4DBD-AB5E-BA44CCD0E829}" dt="2023-08-31T07:58:41.460" v="7077" actId="20577"/>
        <pc:sldMkLst>
          <pc:docMk/>
          <pc:sldMk cId="249887163" sldId="256"/>
        </pc:sldMkLst>
        <pc:spChg chg="add mod">
          <ac:chgData name="Lim, Sharon" userId="9ed40bdc-079d-4cee-a990-4411351f7f9c" providerId="ADAL" clId="{DD93C774-82BE-4DBD-AB5E-BA44CCD0E829}" dt="2023-08-31T07:53:49.662" v="6671" actId="1076"/>
          <ac:spMkLst>
            <pc:docMk/>
            <pc:sldMk cId="249887163" sldId="256"/>
            <ac:spMk id="2" creationId="{C1032B9A-104D-A278-8E80-E399BA2718C8}"/>
          </ac:spMkLst>
        </pc:spChg>
        <pc:spChg chg="add mod">
          <ac:chgData name="Lim, Sharon" userId="9ed40bdc-079d-4cee-a990-4411351f7f9c" providerId="ADAL" clId="{DD93C774-82BE-4DBD-AB5E-BA44CCD0E829}" dt="2023-08-31T07:58:41.460" v="7077" actId="20577"/>
          <ac:spMkLst>
            <pc:docMk/>
            <pc:sldMk cId="249887163" sldId="256"/>
            <ac:spMk id="3" creationId="{716DA34B-A3C3-39BF-06A5-AFF51923471A}"/>
          </ac:spMkLst>
        </pc:spChg>
        <pc:spChg chg="add mod">
          <ac:chgData name="Lim, Sharon" userId="9ed40bdc-079d-4cee-a990-4411351f7f9c" providerId="ADAL" clId="{DD93C774-82BE-4DBD-AB5E-BA44CCD0E829}" dt="2023-08-31T07:53:49.662" v="6671" actId="1076"/>
          <ac:spMkLst>
            <pc:docMk/>
            <pc:sldMk cId="249887163" sldId="256"/>
            <ac:spMk id="5" creationId="{C2514C8E-5E32-D000-57DA-B3D2F70F6143}"/>
          </ac:spMkLst>
        </pc:spChg>
        <pc:picChg chg="add del mod">
          <ac:chgData name="Lim, Sharon" userId="9ed40bdc-079d-4cee-a990-4411351f7f9c" providerId="ADAL" clId="{DD93C774-82BE-4DBD-AB5E-BA44CCD0E829}" dt="2023-08-31T07:51:44.386" v="6625" actId="21"/>
          <ac:picMkLst>
            <pc:docMk/>
            <pc:sldMk cId="249887163" sldId="256"/>
            <ac:picMk id="6" creationId="{538F000A-D32A-E7A6-9184-7FC1CE7A91AF}"/>
          </ac:picMkLst>
        </pc:picChg>
        <pc:picChg chg="del">
          <ac:chgData name="Lim, Sharon" userId="9ed40bdc-079d-4cee-a990-4411351f7f9c" providerId="ADAL" clId="{DD93C774-82BE-4DBD-AB5E-BA44CCD0E829}" dt="2023-08-31T07:51:16.936" v="6623" actId="478"/>
          <ac:picMkLst>
            <pc:docMk/>
            <pc:sldMk cId="249887163" sldId="256"/>
            <ac:picMk id="1026" creationId="{9DBB54A4-19A8-36FE-F113-DA576B237CA0}"/>
          </ac:picMkLst>
        </pc:picChg>
      </pc:sldChg>
      <pc:sldChg chg="addSp delSp modSp del mod ord">
        <pc:chgData name="Lim, Sharon" userId="9ed40bdc-079d-4cee-a990-4411351f7f9c" providerId="ADAL" clId="{DD93C774-82BE-4DBD-AB5E-BA44CCD0E829}" dt="2023-08-31T10:44:02.670" v="47648" actId="47"/>
        <pc:sldMkLst>
          <pc:docMk/>
          <pc:sldMk cId="490561301" sldId="257"/>
        </pc:sldMkLst>
        <pc:spChg chg="mod">
          <ac:chgData name="Lim, Sharon" userId="9ed40bdc-079d-4cee-a990-4411351f7f9c" providerId="ADAL" clId="{DD93C774-82BE-4DBD-AB5E-BA44CCD0E829}" dt="2023-08-30T05:12:30.860" v="249" actId="948"/>
          <ac:spMkLst>
            <pc:docMk/>
            <pc:sldMk cId="490561301" sldId="257"/>
            <ac:spMk id="2" creationId="{E6BDE1E1-5FE9-A4A3-000B-465AE01D439E}"/>
          </ac:spMkLst>
        </pc:spChg>
        <pc:spChg chg="add mod">
          <ac:chgData name="Lim, Sharon" userId="9ed40bdc-079d-4cee-a990-4411351f7f9c" providerId="ADAL" clId="{DD93C774-82BE-4DBD-AB5E-BA44CCD0E829}" dt="2023-08-30T05:12:31.269" v="254" actId="478"/>
          <ac:spMkLst>
            <pc:docMk/>
            <pc:sldMk cId="490561301" sldId="257"/>
            <ac:spMk id="8" creationId="{EA3C328B-3F89-9456-B385-FB0CBB71C5BB}"/>
          </ac:spMkLst>
        </pc:spChg>
        <pc:graphicFrameChg chg="mod">
          <ac:chgData name="Lim, Sharon" userId="9ed40bdc-079d-4cee-a990-4411351f7f9c" providerId="ADAL" clId="{DD93C774-82BE-4DBD-AB5E-BA44CCD0E829}" dt="2023-08-30T05:12:30.878" v="253"/>
          <ac:graphicFrameMkLst>
            <pc:docMk/>
            <pc:sldMk cId="490561301" sldId="257"/>
            <ac:graphicFrameMk id="4" creationId="{985CEF17-707E-15AF-5668-65BA36973317}"/>
          </ac:graphicFrameMkLst>
        </pc:graphicFrameChg>
        <pc:picChg chg="del">
          <ac:chgData name="Lim, Sharon" userId="9ed40bdc-079d-4cee-a990-4411351f7f9c" providerId="ADAL" clId="{DD93C774-82BE-4DBD-AB5E-BA44CCD0E829}" dt="2023-08-30T05:12:31.269" v="254" actId="478"/>
          <ac:picMkLst>
            <pc:docMk/>
            <pc:sldMk cId="490561301" sldId="257"/>
            <ac:picMk id="6" creationId="{C6318C26-4AC2-6B31-A1BD-DBF44C4C8487}"/>
          </ac:picMkLst>
        </pc:picChg>
      </pc:sldChg>
      <pc:sldChg chg="addSp delSp modSp del mod ord">
        <pc:chgData name="Lim, Sharon" userId="9ed40bdc-079d-4cee-a990-4411351f7f9c" providerId="ADAL" clId="{DD93C774-82BE-4DBD-AB5E-BA44CCD0E829}" dt="2023-08-31T10:44:03.285" v="47649" actId="47"/>
        <pc:sldMkLst>
          <pc:docMk/>
          <pc:sldMk cId="301199972" sldId="258"/>
        </pc:sldMkLst>
        <pc:spChg chg="mod">
          <ac:chgData name="Lim, Sharon" userId="9ed40bdc-079d-4cee-a990-4411351f7f9c" providerId="ADAL" clId="{DD93C774-82BE-4DBD-AB5E-BA44CCD0E829}" dt="2023-08-30T05:13:47.085" v="384" actId="948"/>
          <ac:spMkLst>
            <pc:docMk/>
            <pc:sldMk cId="301199972" sldId="258"/>
            <ac:spMk id="2" creationId="{B268F0E9-2D40-3BEE-B5AA-87DC2286AA2F}"/>
          </ac:spMkLst>
        </pc:spChg>
        <pc:spChg chg="add mod">
          <ac:chgData name="Lim, Sharon" userId="9ed40bdc-079d-4cee-a990-4411351f7f9c" providerId="ADAL" clId="{DD93C774-82BE-4DBD-AB5E-BA44CCD0E829}" dt="2023-08-30T05:13:44.310" v="382" actId="478"/>
          <ac:spMkLst>
            <pc:docMk/>
            <pc:sldMk cId="301199972" sldId="258"/>
            <ac:spMk id="7" creationId="{1D898369-7CAE-B478-B316-681452E232A9}"/>
          </ac:spMkLst>
        </pc:spChg>
        <pc:graphicFrameChg chg="mod">
          <ac:chgData name="Lim, Sharon" userId="9ed40bdc-079d-4cee-a990-4411351f7f9c" providerId="ADAL" clId="{DD93C774-82BE-4DBD-AB5E-BA44CCD0E829}" dt="2023-08-30T05:13:47.099" v="388"/>
          <ac:graphicFrameMkLst>
            <pc:docMk/>
            <pc:sldMk cId="301199972" sldId="258"/>
            <ac:graphicFrameMk id="4" creationId="{FF6A7519-915E-3FDE-3483-2B1A396DBFF9}"/>
          </ac:graphicFrameMkLst>
        </pc:graphicFrameChg>
        <pc:picChg chg="del">
          <ac:chgData name="Lim, Sharon" userId="9ed40bdc-079d-4cee-a990-4411351f7f9c" providerId="ADAL" clId="{DD93C774-82BE-4DBD-AB5E-BA44CCD0E829}" dt="2023-08-30T05:13:44.310" v="382" actId="478"/>
          <ac:picMkLst>
            <pc:docMk/>
            <pc:sldMk cId="301199972" sldId="258"/>
            <ac:picMk id="5" creationId="{B2C622DA-A3DA-E7A6-30EF-FA7902922A50}"/>
          </ac:picMkLst>
        </pc:picChg>
      </pc:sldChg>
      <pc:sldChg chg="del ord">
        <pc:chgData name="Lim, Sharon" userId="9ed40bdc-079d-4cee-a990-4411351f7f9c" providerId="ADAL" clId="{DD93C774-82BE-4DBD-AB5E-BA44CCD0E829}" dt="2023-08-31T10:44:03.643" v="47650" actId="47"/>
        <pc:sldMkLst>
          <pc:docMk/>
          <pc:sldMk cId="3986845449" sldId="259"/>
        </pc:sldMkLst>
      </pc:sldChg>
      <pc:sldChg chg="del ord">
        <pc:chgData name="Lim, Sharon" userId="9ed40bdc-079d-4cee-a990-4411351f7f9c" providerId="ADAL" clId="{DD93C774-82BE-4DBD-AB5E-BA44CCD0E829}" dt="2023-08-31T10:44:03.919" v="47651" actId="47"/>
        <pc:sldMkLst>
          <pc:docMk/>
          <pc:sldMk cId="3725636409" sldId="260"/>
        </pc:sldMkLst>
      </pc:sldChg>
      <pc:sldChg chg="del ord">
        <pc:chgData name="Lim, Sharon" userId="9ed40bdc-079d-4cee-a990-4411351f7f9c" providerId="ADAL" clId="{DD93C774-82BE-4DBD-AB5E-BA44CCD0E829}" dt="2023-08-31T10:44:05.959" v="47656" actId="47"/>
        <pc:sldMkLst>
          <pc:docMk/>
          <pc:sldMk cId="3682993264" sldId="261"/>
        </pc:sldMkLst>
      </pc:sldChg>
      <pc:sldChg chg="del ord">
        <pc:chgData name="Lim, Sharon" userId="9ed40bdc-079d-4cee-a990-4411351f7f9c" providerId="ADAL" clId="{DD93C774-82BE-4DBD-AB5E-BA44CCD0E829}" dt="2023-08-31T10:44:06.142" v="47657" actId="47"/>
        <pc:sldMkLst>
          <pc:docMk/>
          <pc:sldMk cId="2062550367" sldId="262"/>
        </pc:sldMkLst>
      </pc:sldChg>
      <pc:sldChg chg="del ord">
        <pc:chgData name="Lim, Sharon" userId="9ed40bdc-079d-4cee-a990-4411351f7f9c" providerId="ADAL" clId="{DD93C774-82BE-4DBD-AB5E-BA44CCD0E829}" dt="2023-08-31T10:44:06.782" v="47658" actId="47"/>
        <pc:sldMkLst>
          <pc:docMk/>
          <pc:sldMk cId="2275340538" sldId="263"/>
        </pc:sldMkLst>
      </pc:sldChg>
      <pc:sldChg chg="addSp delSp modSp mod">
        <pc:chgData name="Lim, Sharon" userId="9ed40bdc-079d-4cee-a990-4411351f7f9c" providerId="ADAL" clId="{DD93C774-82BE-4DBD-AB5E-BA44CCD0E829}" dt="2023-08-30T05:30:53.186" v="1297"/>
        <pc:sldMkLst>
          <pc:docMk/>
          <pc:sldMk cId="4186360193" sldId="265"/>
        </pc:sldMkLst>
        <pc:spChg chg="mod">
          <ac:chgData name="Lim, Sharon" userId="9ed40bdc-079d-4cee-a990-4411351f7f9c" providerId="ADAL" clId="{DD93C774-82BE-4DBD-AB5E-BA44CCD0E829}" dt="2023-08-30T05:30:53.109" v="1272" actId="948"/>
          <ac:spMkLst>
            <pc:docMk/>
            <pc:sldMk cId="4186360193" sldId="265"/>
            <ac:spMk id="2" creationId="{3D600A18-9D53-7B47-61BF-1625ABB3D413}"/>
          </ac:spMkLst>
        </pc:spChg>
        <pc:spChg chg="add del mod modVis">
          <ac:chgData name="Lim, Sharon" userId="9ed40bdc-079d-4cee-a990-4411351f7f9c" providerId="ADAL" clId="{DD93C774-82BE-4DBD-AB5E-BA44CCD0E829}" dt="2023-08-30T05:15:00.165" v="842"/>
          <ac:spMkLst>
            <pc:docMk/>
            <pc:sldMk cId="4186360193" sldId="265"/>
            <ac:spMk id="6" creationId="{CA12D5F4-5FA0-AB44-503E-866A43ECA7A1}"/>
          </ac:spMkLst>
        </pc:spChg>
        <pc:spChg chg="add del mod modVis">
          <ac:chgData name="Lim, Sharon" userId="9ed40bdc-079d-4cee-a990-4411351f7f9c" providerId="ADAL" clId="{DD93C774-82BE-4DBD-AB5E-BA44CCD0E829}" dt="2023-08-30T05:15:08.231" v="900"/>
          <ac:spMkLst>
            <pc:docMk/>
            <pc:sldMk cId="4186360193" sldId="265"/>
            <ac:spMk id="7" creationId="{16D91D2B-CC7E-CF43-1EAB-51C9A3A6792F}"/>
          </ac:spMkLst>
        </pc:spChg>
        <pc:spChg chg="add del mod modVis">
          <ac:chgData name="Lim, Sharon" userId="9ed40bdc-079d-4cee-a990-4411351f7f9c" providerId="ADAL" clId="{DD93C774-82BE-4DBD-AB5E-BA44CCD0E829}" dt="2023-08-30T05:15:10.942" v="948"/>
          <ac:spMkLst>
            <pc:docMk/>
            <pc:sldMk cId="4186360193" sldId="265"/>
            <ac:spMk id="8" creationId="{ACE56E0F-EDAC-BA57-20F8-25143ED4B204}"/>
          </ac:spMkLst>
        </pc:spChg>
        <pc:spChg chg="add del mod modVis">
          <ac:chgData name="Lim, Sharon" userId="9ed40bdc-079d-4cee-a990-4411351f7f9c" providerId="ADAL" clId="{DD93C774-82BE-4DBD-AB5E-BA44CCD0E829}" dt="2023-08-30T05:28:32.691" v="1175"/>
          <ac:spMkLst>
            <pc:docMk/>
            <pc:sldMk cId="4186360193" sldId="265"/>
            <ac:spMk id="9" creationId="{D1DD7736-050E-4605-FF4F-D2C790233676}"/>
          </ac:spMkLst>
        </pc:spChg>
        <pc:spChg chg="add del mod modVis">
          <ac:chgData name="Lim, Sharon" userId="9ed40bdc-079d-4cee-a990-4411351f7f9c" providerId="ADAL" clId="{DD93C774-82BE-4DBD-AB5E-BA44CCD0E829}" dt="2023-08-30T05:30:47.760" v="1204"/>
          <ac:spMkLst>
            <pc:docMk/>
            <pc:sldMk cId="4186360193" sldId="265"/>
            <ac:spMk id="10" creationId="{3476CD1F-4361-09EF-5167-79F09249614A}"/>
          </ac:spMkLst>
        </pc:spChg>
        <pc:spChg chg="add del mod modVis">
          <ac:chgData name="Lim, Sharon" userId="9ed40bdc-079d-4cee-a990-4411351f7f9c" providerId="ADAL" clId="{DD93C774-82BE-4DBD-AB5E-BA44CCD0E829}" dt="2023-08-30T05:30:50.484" v="1236"/>
          <ac:spMkLst>
            <pc:docMk/>
            <pc:sldMk cId="4186360193" sldId="265"/>
            <ac:spMk id="11" creationId="{A5EA2D29-C10C-650C-8BDD-AD292E3DF935}"/>
          </ac:spMkLst>
        </pc:spChg>
        <pc:spChg chg="add del mod modVis">
          <ac:chgData name="Lim, Sharon" userId="9ed40bdc-079d-4cee-a990-4411351f7f9c" providerId="ADAL" clId="{DD93C774-82BE-4DBD-AB5E-BA44CCD0E829}" dt="2023-08-30T05:30:51.460" v="1265"/>
          <ac:spMkLst>
            <pc:docMk/>
            <pc:sldMk cId="4186360193" sldId="265"/>
            <ac:spMk id="12" creationId="{5D812C6A-CB20-255A-52BC-FCEE5BC4AEF6}"/>
          </ac:spMkLst>
        </pc:spChg>
        <pc:spChg chg="add del mod modVis">
          <ac:chgData name="Lim, Sharon" userId="9ed40bdc-079d-4cee-a990-4411351f7f9c" providerId="ADAL" clId="{DD93C774-82BE-4DBD-AB5E-BA44CCD0E829}" dt="2023-08-30T05:30:53.180" v="1295"/>
          <ac:spMkLst>
            <pc:docMk/>
            <pc:sldMk cId="4186360193" sldId="265"/>
            <ac:spMk id="13" creationId="{0CAE6755-32DD-6384-572C-3C9B286E0E54}"/>
          </ac:spMkLst>
        </pc:spChg>
        <pc:graphicFrameChg chg="mod">
          <ac:chgData name="Lim, Sharon" userId="9ed40bdc-079d-4cee-a990-4411351f7f9c" providerId="ADAL" clId="{DD93C774-82BE-4DBD-AB5E-BA44CCD0E829}" dt="2023-08-30T05:30:53.186" v="1297"/>
          <ac:graphicFrameMkLst>
            <pc:docMk/>
            <pc:sldMk cId="4186360193" sldId="265"/>
            <ac:graphicFrameMk id="4" creationId="{60413455-781A-6B09-FE3F-307AABFBC43C}"/>
          </ac:graphicFrameMkLst>
        </pc:graphicFrameChg>
        <pc:picChg chg="mod">
          <ac:chgData name="Lim, Sharon" userId="9ed40bdc-079d-4cee-a990-4411351f7f9c" providerId="ADAL" clId="{DD93C774-82BE-4DBD-AB5E-BA44CCD0E829}" dt="2023-08-30T05:14:55.224" v="808" actId="14100"/>
          <ac:picMkLst>
            <pc:docMk/>
            <pc:sldMk cId="4186360193" sldId="265"/>
            <ac:picMk id="5" creationId="{15A89CA5-B543-87B8-6D50-87694EEF29B7}"/>
          </ac:picMkLst>
        </pc:picChg>
      </pc:sldChg>
      <pc:sldChg chg="addSp delSp modSp mod">
        <pc:chgData name="Lim, Sharon" userId="9ed40bdc-079d-4cee-a990-4411351f7f9c" providerId="ADAL" clId="{DD93C774-82BE-4DBD-AB5E-BA44CCD0E829}" dt="2023-08-30T05:28:36.580" v="1179" actId="20577"/>
        <pc:sldMkLst>
          <pc:docMk/>
          <pc:sldMk cId="3272718270" sldId="266"/>
        </pc:sldMkLst>
        <pc:spChg chg="del">
          <ac:chgData name="Lim, Sharon" userId="9ed40bdc-079d-4cee-a990-4411351f7f9c" providerId="ADAL" clId="{DD93C774-82BE-4DBD-AB5E-BA44CCD0E829}" dt="2023-08-30T05:15:24.084" v="953" actId="478"/>
          <ac:spMkLst>
            <pc:docMk/>
            <pc:sldMk cId="3272718270" sldId="266"/>
            <ac:spMk id="2" creationId="{6181A54C-437C-0D79-6FB7-50597F691D59}"/>
          </ac:spMkLst>
        </pc:spChg>
        <pc:spChg chg="add mod">
          <ac:chgData name="Lim, Sharon" userId="9ed40bdc-079d-4cee-a990-4411351f7f9c" providerId="ADAL" clId="{DD93C774-82BE-4DBD-AB5E-BA44CCD0E829}" dt="2023-08-30T05:28:36.580" v="1179" actId="20577"/>
          <ac:spMkLst>
            <pc:docMk/>
            <pc:sldMk cId="3272718270" sldId="266"/>
            <ac:spMk id="6" creationId="{628E8ABA-CBF2-FF5E-678E-E3E59953F3C2}"/>
          </ac:spMkLst>
        </pc:spChg>
        <pc:spChg chg="add del mod">
          <ac:chgData name="Lim, Sharon" userId="9ed40bdc-079d-4cee-a990-4411351f7f9c" providerId="ADAL" clId="{DD93C774-82BE-4DBD-AB5E-BA44CCD0E829}" dt="2023-08-30T05:16:19.140" v="1061" actId="21"/>
          <ac:spMkLst>
            <pc:docMk/>
            <pc:sldMk cId="3272718270" sldId="266"/>
            <ac:spMk id="8" creationId="{B3D0A9CC-D693-7A39-76B1-FD8FA02C3727}"/>
          </ac:spMkLst>
        </pc:spChg>
        <pc:graphicFrameChg chg="mod">
          <ac:chgData name="Lim, Sharon" userId="9ed40bdc-079d-4cee-a990-4411351f7f9c" providerId="ADAL" clId="{DD93C774-82BE-4DBD-AB5E-BA44CCD0E829}" dt="2023-08-30T05:16:19.721" v="1065"/>
          <ac:graphicFrameMkLst>
            <pc:docMk/>
            <pc:sldMk cId="3272718270" sldId="266"/>
            <ac:graphicFrameMk id="4" creationId="{35580B56-BDCB-69DE-A9D8-4761BF883463}"/>
          </ac:graphicFrameMkLst>
        </pc:graphicFrameChg>
        <pc:picChg chg="mod">
          <ac:chgData name="Lim, Sharon" userId="9ed40bdc-079d-4cee-a990-4411351f7f9c" providerId="ADAL" clId="{DD93C774-82BE-4DBD-AB5E-BA44CCD0E829}" dt="2023-08-30T05:15:26.737" v="958" actId="1076"/>
          <ac:picMkLst>
            <pc:docMk/>
            <pc:sldMk cId="3272718270" sldId="266"/>
            <ac:picMk id="5" creationId="{87903FDF-4984-13E1-B345-8FF9A68FD61E}"/>
          </ac:picMkLst>
        </pc:picChg>
      </pc:sldChg>
      <pc:sldChg chg="addSp delSp modSp mod ord">
        <pc:chgData name="Lim, Sharon" userId="9ed40bdc-079d-4cee-a990-4411351f7f9c" providerId="ADAL" clId="{DD93C774-82BE-4DBD-AB5E-BA44CCD0E829}" dt="2023-08-30T05:13:16.535" v="349"/>
        <pc:sldMkLst>
          <pc:docMk/>
          <pc:sldMk cId="3733647645" sldId="267"/>
        </pc:sldMkLst>
        <pc:spChg chg="mod">
          <ac:chgData name="Lim, Sharon" userId="9ed40bdc-079d-4cee-a990-4411351f7f9c" providerId="ADAL" clId="{DD93C774-82BE-4DBD-AB5E-BA44CCD0E829}" dt="2023-08-30T05:13:16.457" v="324" actId="948"/>
          <ac:spMkLst>
            <pc:docMk/>
            <pc:sldMk cId="3733647645" sldId="267"/>
            <ac:spMk id="2" creationId="{4AD4EE2B-9293-EEFF-82B8-779E78CCBB55}"/>
          </ac:spMkLst>
        </pc:spChg>
        <pc:spChg chg="del">
          <ac:chgData name="Lim, Sharon" userId="9ed40bdc-079d-4cee-a990-4411351f7f9c" providerId="ADAL" clId="{DD93C774-82BE-4DBD-AB5E-BA44CCD0E829}" dt="2023-08-30T05:12:26.412" v="246" actId="478"/>
          <ac:spMkLst>
            <pc:docMk/>
            <pc:sldMk cId="3733647645" sldId="267"/>
            <ac:spMk id="3" creationId="{D33BE197-FFF4-D3D5-7601-CDF844E6A677}"/>
          </ac:spMkLst>
        </pc:spChg>
        <pc:spChg chg="add del mod modVis">
          <ac:chgData name="Lim, Sharon" userId="9ed40bdc-079d-4cee-a990-4411351f7f9c" providerId="ADAL" clId="{DD93C774-82BE-4DBD-AB5E-BA44CCD0E829}" dt="2023-08-30T05:12:21.217" v="243"/>
          <ac:spMkLst>
            <pc:docMk/>
            <pc:sldMk cId="3733647645" sldId="267"/>
            <ac:spMk id="5" creationId="{4CA53CC6-70AE-203E-7423-3F093207D2D9}"/>
          </ac:spMkLst>
        </pc:spChg>
        <pc:spChg chg="add del mod modVis">
          <ac:chgData name="Lim, Sharon" userId="9ed40bdc-079d-4cee-a990-4411351f7f9c" providerId="ADAL" clId="{DD93C774-82BE-4DBD-AB5E-BA44CCD0E829}" dt="2023-08-30T05:13:15.339" v="318"/>
          <ac:spMkLst>
            <pc:docMk/>
            <pc:sldMk cId="3733647645" sldId="267"/>
            <ac:spMk id="8" creationId="{FD22F4CA-1A5E-6AC1-BBF4-166FF6F86F17}"/>
          </ac:spMkLst>
        </pc:spChg>
        <pc:spChg chg="add del mod modVis">
          <ac:chgData name="Lim, Sharon" userId="9ed40bdc-079d-4cee-a990-4411351f7f9c" providerId="ADAL" clId="{DD93C774-82BE-4DBD-AB5E-BA44CCD0E829}" dt="2023-08-30T05:13:16.526" v="347"/>
          <ac:spMkLst>
            <pc:docMk/>
            <pc:sldMk cId="3733647645" sldId="267"/>
            <ac:spMk id="9" creationId="{4F4558A3-0F0C-D21D-55E2-AE6D534F3B47}"/>
          </ac:spMkLst>
        </pc:spChg>
        <pc:graphicFrameChg chg="mod">
          <ac:chgData name="Lim, Sharon" userId="9ed40bdc-079d-4cee-a990-4411351f7f9c" providerId="ADAL" clId="{DD93C774-82BE-4DBD-AB5E-BA44CCD0E829}" dt="2023-08-30T05:13:16.535" v="349"/>
          <ac:graphicFrameMkLst>
            <pc:docMk/>
            <pc:sldMk cId="3733647645" sldId="267"/>
            <ac:graphicFrameMk id="4" creationId="{A6A971DE-C463-9317-50BF-0D2513D1B0F1}"/>
          </ac:graphicFrameMkLst>
        </pc:graphicFrameChg>
        <pc:picChg chg="add mod">
          <ac:chgData name="Lim, Sharon" userId="9ed40bdc-079d-4cee-a990-4411351f7f9c" providerId="ADAL" clId="{DD93C774-82BE-4DBD-AB5E-BA44CCD0E829}" dt="2023-08-30T05:12:26.820" v="247"/>
          <ac:picMkLst>
            <pc:docMk/>
            <pc:sldMk cId="3733647645" sldId="267"/>
            <ac:picMk id="6" creationId="{B7EA377F-7D67-FAED-58D7-25CC97EF2F2F}"/>
          </ac:picMkLst>
        </pc:picChg>
        <pc:picChg chg="add del mod">
          <ac:chgData name="Lim, Sharon" userId="9ed40bdc-079d-4cee-a990-4411351f7f9c" providerId="ADAL" clId="{DD93C774-82BE-4DBD-AB5E-BA44CCD0E829}" dt="2023-08-30T05:12:36.729" v="256"/>
          <ac:picMkLst>
            <pc:docMk/>
            <pc:sldMk cId="3733647645" sldId="267"/>
            <ac:picMk id="7" creationId="{93D39302-0002-B55E-16EE-68AAC9BD6B55}"/>
          </ac:picMkLst>
        </pc:picChg>
      </pc:sldChg>
      <pc:sldChg chg="addSp delSp modSp mod">
        <pc:chgData name="Lim, Sharon" userId="9ed40bdc-079d-4cee-a990-4411351f7f9c" providerId="ADAL" clId="{DD93C774-82BE-4DBD-AB5E-BA44CCD0E829}" dt="2023-08-30T05:32:15.172" v="1299" actId="14100"/>
        <pc:sldMkLst>
          <pc:docMk/>
          <pc:sldMk cId="3146002654" sldId="268"/>
        </pc:sldMkLst>
        <pc:spChg chg="mod">
          <ac:chgData name="Lim, Sharon" userId="9ed40bdc-079d-4cee-a990-4411351f7f9c" providerId="ADAL" clId="{DD93C774-82BE-4DBD-AB5E-BA44CCD0E829}" dt="2023-08-30T05:14:09.464" v="533" actId="948"/>
          <ac:spMkLst>
            <pc:docMk/>
            <pc:sldMk cId="3146002654" sldId="268"/>
            <ac:spMk id="2" creationId="{1063317E-8584-6752-E3C7-F45941620DCC}"/>
          </ac:spMkLst>
        </pc:spChg>
        <pc:spChg chg="del">
          <ac:chgData name="Lim, Sharon" userId="9ed40bdc-079d-4cee-a990-4411351f7f9c" providerId="ADAL" clId="{DD93C774-82BE-4DBD-AB5E-BA44CCD0E829}" dt="2023-08-30T05:07:01.123" v="0" actId="478"/>
          <ac:spMkLst>
            <pc:docMk/>
            <pc:sldMk cId="3146002654" sldId="268"/>
            <ac:spMk id="3" creationId="{FB84DB5D-9280-4CA3-B129-82C403443EE3}"/>
          </ac:spMkLst>
        </pc:spChg>
        <pc:spChg chg="add mod">
          <ac:chgData name="Lim, Sharon" userId="9ed40bdc-079d-4cee-a990-4411351f7f9c" providerId="ADAL" clId="{DD93C774-82BE-4DBD-AB5E-BA44CCD0E829}" dt="2023-08-30T05:08:10.602" v="24" actId="20577"/>
          <ac:spMkLst>
            <pc:docMk/>
            <pc:sldMk cId="3146002654" sldId="268"/>
            <ac:spMk id="9" creationId="{2C2DB176-5535-6EAD-D000-F3FAC424146E}"/>
          </ac:spMkLst>
        </pc:spChg>
        <pc:spChg chg="add del mod modVis">
          <ac:chgData name="Lim, Sharon" userId="9ed40bdc-079d-4cee-a990-4411351f7f9c" providerId="ADAL" clId="{DD93C774-82BE-4DBD-AB5E-BA44CCD0E829}" dt="2023-08-30T05:14:02.857" v="425"/>
          <ac:spMkLst>
            <pc:docMk/>
            <pc:sldMk cId="3146002654" sldId="268"/>
            <ac:spMk id="10" creationId="{62E265ED-F5E6-C2F2-1D12-289B7F1347A2}"/>
          </ac:spMkLst>
        </pc:spChg>
        <pc:spChg chg="add del mod modVis">
          <ac:chgData name="Lim, Sharon" userId="9ed40bdc-079d-4cee-a990-4411351f7f9c" providerId="ADAL" clId="{DD93C774-82BE-4DBD-AB5E-BA44CCD0E829}" dt="2023-08-30T05:14:04.454" v="457"/>
          <ac:spMkLst>
            <pc:docMk/>
            <pc:sldMk cId="3146002654" sldId="268"/>
            <ac:spMk id="11" creationId="{BFABD072-6E8B-D53A-1FD6-77B831003C98}"/>
          </ac:spMkLst>
        </pc:spChg>
        <pc:spChg chg="add del mod modVis">
          <ac:chgData name="Lim, Sharon" userId="9ed40bdc-079d-4cee-a990-4411351f7f9c" providerId="ADAL" clId="{DD93C774-82BE-4DBD-AB5E-BA44CCD0E829}" dt="2023-08-30T05:14:04.642" v="484"/>
          <ac:spMkLst>
            <pc:docMk/>
            <pc:sldMk cId="3146002654" sldId="268"/>
            <ac:spMk id="12" creationId="{1E0B5ED9-C0BE-1E3E-8A1D-9DCFC28EDFE0}"/>
          </ac:spMkLst>
        </pc:spChg>
        <pc:spChg chg="add del mod modVis">
          <ac:chgData name="Lim, Sharon" userId="9ed40bdc-079d-4cee-a990-4411351f7f9c" providerId="ADAL" clId="{DD93C774-82BE-4DBD-AB5E-BA44CCD0E829}" dt="2023-08-30T05:14:05.233" v="511"/>
          <ac:spMkLst>
            <pc:docMk/>
            <pc:sldMk cId="3146002654" sldId="268"/>
            <ac:spMk id="13" creationId="{18161496-1E7C-82B2-B697-C5A4EEAF3F90}"/>
          </ac:spMkLst>
        </pc:spChg>
        <pc:spChg chg="add del mod modVis">
          <ac:chgData name="Lim, Sharon" userId="9ed40bdc-079d-4cee-a990-4411351f7f9c" providerId="ADAL" clId="{DD93C774-82BE-4DBD-AB5E-BA44CCD0E829}" dt="2023-08-30T05:14:09.503" v="556"/>
          <ac:spMkLst>
            <pc:docMk/>
            <pc:sldMk cId="3146002654" sldId="268"/>
            <ac:spMk id="14" creationId="{C88EE60A-1FFF-2779-5F5B-D47CD6E68184}"/>
          </ac:spMkLst>
        </pc:spChg>
        <pc:graphicFrameChg chg="mod">
          <ac:chgData name="Lim, Sharon" userId="9ed40bdc-079d-4cee-a990-4411351f7f9c" providerId="ADAL" clId="{DD93C774-82BE-4DBD-AB5E-BA44CCD0E829}" dt="2023-08-30T05:14:09.510" v="558"/>
          <ac:graphicFrameMkLst>
            <pc:docMk/>
            <pc:sldMk cId="3146002654" sldId="268"/>
            <ac:graphicFrameMk id="4" creationId="{69210B19-CC89-15EE-DBE5-C8EB3B487F2D}"/>
          </ac:graphicFrameMkLst>
        </pc:graphicFrameChg>
        <pc:picChg chg="add mod">
          <ac:chgData name="Lim, Sharon" userId="9ed40bdc-079d-4cee-a990-4411351f7f9c" providerId="ADAL" clId="{DD93C774-82BE-4DBD-AB5E-BA44CCD0E829}" dt="2023-08-30T05:07:36.279" v="13" actId="14100"/>
          <ac:picMkLst>
            <pc:docMk/>
            <pc:sldMk cId="3146002654" sldId="268"/>
            <ac:picMk id="6" creationId="{90C270E2-5B7D-8F44-C5E0-FD27AA265D9C}"/>
          </ac:picMkLst>
        </pc:picChg>
        <pc:picChg chg="add mod">
          <ac:chgData name="Lim, Sharon" userId="9ed40bdc-079d-4cee-a990-4411351f7f9c" providerId="ADAL" clId="{DD93C774-82BE-4DBD-AB5E-BA44CCD0E829}" dt="2023-08-30T05:32:15.172" v="1299" actId="14100"/>
          <ac:picMkLst>
            <pc:docMk/>
            <pc:sldMk cId="3146002654" sldId="268"/>
            <ac:picMk id="8" creationId="{4E9C9ED5-F60F-ADA1-65C0-A48C7DFE9E75}"/>
          </ac:picMkLst>
        </pc:picChg>
      </pc:sldChg>
      <pc:sldChg chg="del ord">
        <pc:chgData name="Lim, Sharon" userId="9ed40bdc-079d-4cee-a990-4411351f7f9c" providerId="ADAL" clId="{DD93C774-82BE-4DBD-AB5E-BA44CCD0E829}" dt="2023-08-31T10:44:04.399" v="47652" actId="47"/>
        <pc:sldMkLst>
          <pc:docMk/>
          <pc:sldMk cId="1635523028" sldId="269"/>
        </pc:sldMkLst>
      </pc:sldChg>
      <pc:sldChg chg="del ord">
        <pc:chgData name="Lim, Sharon" userId="9ed40bdc-079d-4cee-a990-4411351f7f9c" providerId="ADAL" clId="{DD93C774-82BE-4DBD-AB5E-BA44CCD0E829}" dt="2023-08-31T10:44:04.656" v="47653" actId="47"/>
        <pc:sldMkLst>
          <pc:docMk/>
          <pc:sldMk cId="2245155601" sldId="270"/>
        </pc:sldMkLst>
      </pc:sldChg>
      <pc:sldChg chg="del ord">
        <pc:chgData name="Lim, Sharon" userId="9ed40bdc-079d-4cee-a990-4411351f7f9c" providerId="ADAL" clId="{DD93C774-82BE-4DBD-AB5E-BA44CCD0E829}" dt="2023-08-31T10:44:05.201" v="47654" actId="47"/>
        <pc:sldMkLst>
          <pc:docMk/>
          <pc:sldMk cId="2062712783" sldId="271"/>
        </pc:sldMkLst>
      </pc:sldChg>
      <pc:sldChg chg="del">
        <pc:chgData name="Lim, Sharon" userId="9ed40bdc-079d-4cee-a990-4411351f7f9c" providerId="ADAL" clId="{DD93C774-82BE-4DBD-AB5E-BA44CCD0E829}" dt="2023-08-31T10:44:01.798" v="47647" actId="47"/>
        <pc:sldMkLst>
          <pc:docMk/>
          <pc:sldMk cId="2020780069" sldId="272"/>
        </pc:sldMkLst>
      </pc:sldChg>
      <pc:sldChg chg="del ord">
        <pc:chgData name="Lim, Sharon" userId="9ed40bdc-079d-4cee-a990-4411351f7f9c" providerId="ADAL" clId="{DD93C774-82BE-4DBD-AB5E-BA44CCD0E829}" dt="2023-08-31T10:44:05.383" v="47655" actId="47"/>
        <pc:sldMkLst>
          <pc:docMk/>
          <pc:sldMk cId="3545245824" sldId="273"/>
        </pc:sldMkLst>
      </pc:sldChg>
      <pc:sldChg chg="addSp delSp modSp new add mod modNotesTx">
        <pc:chgData name="Lim, Sharon" userId="9ed40bdc-079d-4cee-a990-4411351f7f9c" providerId="ADAL" clId="{DD93C774-82BE-4DBD-AB5E-BA44CCD0E829}" dt="2023-08-31T04:36:48.783" v="1636" actId="20577"/>
        <pc:sldMkLst>
          <pc:docMk/>
          <pc:sldMk cId="4025899085" sldId="277"/>
        </pc:sldMkLst>
        <pc:spChg chg="mod">
          <ac:chgData name="Lim, Sharon" userId="9ed40bdc-079d-4cee-a990-4411351f7f9c" providerId="ADAL" clId="{DD93C774-82BE-4DBD-AB5E-BA44CCD0E829}" dt="2023-08-30T05:16:30.012" v="1078" actId="948"/>
          <ac:spMkLst>
            <pc:docMk/>
            <pc:sldMk cId="4025899085" sldId="277"/>
            <ac:spMk id="2" creationId="{02287A46-F2F2-E14E-4CC3-98BCAB3D2CD3}"/>
          </ac:spMkLst>
        </pc:spChg>
        <pc:spChg chg="del">
          <ac:chgData name="Lim, Sharon" userId="9ed40bdc-079d-4cee-a990-4411351f7f9c" providerId="ADAL" clId="{DD93C774-82BE-4DBD-AB5E-BA44CCD0E829}" dt="2023-08-30T05:08:58.213" v="80" actId="478"/>
          <ac:spMkLst>
            <pc:docMk/>
            <pc:sldMk cId="4025899085" sldId="277"/>
            <ac:spMk id="3" creationId="{B125D298-B44C-923A-991E-240E4568B2D5}"/>
          </ac:spMkLst>
        </pc:spChg>
        <pc:spChg chg="add del mod modVis">
          <ac:chgData name="Lim, Sharon" userId="9ed40bdc-079d-4cee-a990-4411351f7f9c" providerId="ADAL" clId="{DD93C774-82BE-4DBD-AB5E-BA44CCD0E829}" dt="2023-08-30T05:08:55.960" v="77"/>
          <ac:spMkLst>
            <pc:docMk/>
            <pc:sldMk cId="4025899085" sldId="277"/>
            <ac:spMk id="5" creationId="{17C50636-4515-EB31-AA4E-A1C1C348E289}"/>
          </ac:spMkLst>
        </pc:spChg>
        <pc:spChg chg="add mod">
          <ac:chgData name="Lim, Sharon" userId="9ed40bdc-079d-4cee-a990-4411351f7f9c" providerId="ADAL" clId="{DD93C774-82BE-4DBD-AB5E-BA44CCD0E829}" dt="2023-08-30T05:18:19.389" v="1104" actId="207"/>
          <ac:spMkLst>
            <pc:docMk/>
            <pc:sldMk cId="4025899085" sldId="277"/>
            <ac:spMk id="10" creationId="{AEFD4A52-9809-F64D-C01D-590601B51618}"/>
          </ac:spMkLst>
        </pc:spChg>
        <pc:spChg chg="add del mod modVis">
          <ac:chgData name="Lim, Sharon" userId="9ed40bdc-079d-4cee-a990-4411351f7f9c" providerId="ADAL" clId="{DD93C774-82BE-4DBD-AB5E-BA44CCD0E829}" dt="2023-08-30T05:14:18.651" v="613"/>
          <ac:spMkLst>
            <pc:docMk/>
            <pc:sldMk cId="4025899085" sldId="277"/>
            <ac:spMk id="11" creationId="{BC0C4082-59F3-83FB-93C1-A77AA4EE6B1E}"/>
          </ac:spMkLst>
        </pc:spChg>
        <pc:spChg chg="add del mod modVis">
          <ac:chgData name="Lim, Sharon" userId="9ed40bdc-079d-4cee-a990-4411351f7f9c" providerId="ADAL" clId="{DD93C774-82BE-4DBD-AB5E-BA44CCD0E829}" dt="2023-08-30T05:14:19.444" v="642"/>
          <ac:spMkLst>
            <pc:docMk/>
            <pc:sldMk cId="4025899085" sldId="277"/>
            <ac:spMk id="12" creationId="{CDAFF6E1-2C0E-C88D-C6D2-8F8A4D8857DC}"/>
          </ac:spMkLst>
        </pc:spChg>
        <pc:spChg chg="add del mod modVis">
          <ac:chgData name="Lim, Sharon" userId="9ed40bdc-079d-4cee-a990-4411351f7f9c" providerId="ADAL" clId="{DD93C774-82BE-4DBD-AB5E-BA44CCD0E829}" dt="2023-08-30T05:14:19.888" v="669"/>
          <ac:spMkLst>
            <pc:docMk/>
            <pc:sldMk cId="4025899085" sldId="277"/>
            <ac:spMk id="13" creationId="{CF4C7AE9-8805-F0EA-0363-3F6CA16C016B}"/>
          </ac:spMkLst>
        </pc:spChg>
        <pc:spChg chg="add del mod modVis">
          <ac:chgData name="Lim, Sharon" userId="9ed40bdc-079d-4cee-a990-4411351f7f9c" providerId="ADAL" clId="{DD93C774-82BE-4DBD-AB5E-BA44CCD0E829}" dt="2023-08-30T05:14:21.729" v="709"/>
          <ac:spMkLst>
            <pc:docMk/>
            <pc:sldMk cId="4025899085" sldId="277"/>
            <ac:spMk id="14" creationId="{A94FAC23-BE33-E43E-EEE7-8157147BDDB7}"/>
          </ac:spMkLst>
        </pc:spChg>
        <pc:spChg chg="add del mod modVis">
          <ac:chgData name="Lim, Sharon" userId="9ed40bdc-079d-4cee-a990-4411351f7f9c" providerId="ADAL" clId="{DD93C774-82BE-4DBD-AB5E-BA44CCD0E829}" dt="2023-08-30T05:14:22.670" v="741"/>
          <ac:spMkLst>
            <pc:docMk/>
            <pc:sldMk cId="4025899085" sldId="277"/>
            <ac:spMk id="15" creationId="{A8C322A8-A5B1-BD61-9025-D62D715BA30A}"/>
          </ac:spMkLst>
        </pc:spChg>
        <pc:spChg chg="add del mod modVis">
          <ac:chgData name="Lim, Sharon" userId="9ed40bdc-079d-4cee-a990-4411351f7f9c" providerId="ADAL" clId="{DD93C774-82BE-4DBD-AB5E-BA44CCD0E829}" dt="2023-08-30T05:14:23.230" v="769"/>
          <ac:spMkLst>
            <pc:docMk/>
            <pc:sldMk cId="4025899085" sldId="277"/>
            <ac:spMk id="16" creationId="{EB18AC0B-FBD1-4235-4269-40AD77F6CF8B}"/>
          </ac:spMkLst>
        </pc:spChg>
        <pc:spChg chg="add del mod modVis">
          <ac:chgData name="Lim, Sharon" userId="9ed40bdc-079d-4cee-a990-4411351f7f9c" providerId="ADAL" clId="{DD93C774-82BE-4DBD-AB5E-BA44CCD0E829}" dt="2023-08-30T05:14:25.400" v="805"/>
          <ac:spMkLst>
            <pc:docMk/>
            <pc:sldMk cId="4025899085" sldId="277"/>
            <ac:spMk id="17" creationId="{58703DBF-6D41-6F03-FC12-A766471725A8}"/>
          </ac:spMkLst>
        </pc:spChg>
        <pc:spChg chg="add del mod modVis">
          <ac:chgData name="Lim, Sharon" userId="9ed40bdc-079d-4cee-a990-4411351f7f9c" providerId="ADAL" clId="{DD93C774-82BE-4DBD-AB5E-BA44CCD0E829}" dt="2023-08-30T05:16:30.094" v="1101"/>
          <ac:spMkLst>
            <pc:docMk/>
            <pc:sldMk cId="4025899085" sldId="277"/>
            <ac:spMk id="18" creationId="{5772F94F-19B3-4B41-3094-D351028CCE22}"/>
          </ac:spMkLst>
        </pc:spChg>
        <pc:graphicFrameChg chg="add mod ord modVis replST">
          <ac:chgData name="Lim, Sharon" userId="9ed40bdc-079d-4cee-a990-4411351f7f9c" providerId="ADAL" clId="{DD93C774-82BE-4DBD-AB5E-BA44CCD0E829}" dt="2023-08-30T05:16:30.104" v="1103"/>
          <ac:graphicFrameMkLst>
            <pc:docMk/>
            <pc:sldMk cId="4025899085" sldId="277"/>
            <ac:graphicFrameMk id="4" creationId="{C0C96338-BE77-70D1-7414-5C64534C9C1F}"/>
          </ac:graphicFrameMkLst>
        </pc:graphicFrameChg>
        <pc:picChg chg="add del mod">
          <ac:chgData name="Lim, Sharon" userId="9ed40bdc-079d-4cee-a990-4411351f7f9c" providerId="ADAL" clId="{DD93C774-82BE-4DBD-AB5E-BA44CCD0E829}" dt="2023-08-30T05:09:33.516" v="86" actId="478"/>
          <ac:picMkLst>
            <pc:docMk/>
            <pc:sldMk cId="4025899085" sldId="277"/>
            <ac:picMk id="7" creationId="{77847D1A-B607-310A-2930-B38A4FB1D1DF}"/>
          </ac:picMkLst>
        </pc:picChg>
        <pc:picChg chg="add mod">
          <ac:chgData name="Lim, Sharon" userId="9ed40bdc-079d-4cee-a990-4411351f7f9c" providerId="ADAL" clId="{DD93C774-82BE-4DBD-AB5E-BA44CCD0E829}" dt="2023-08-30T05:09:39.740" v="91" actId="1076"/>
          <ac:picMkLst>
            <pc:docMk/>
            <pc:sldMk cId="4025899085" sldId="277"/>
            <ac:picMk id="9" creationId="{8A0223D3-E586-7903-E6F7-D3A5EFE666EC}"/>
          </ac:picMkLst>
        </pc:picChg>
      </pc:sldChg>
      <pc:sldChg chg="modNotesTx">
        <pc:chgData name="Lim, Sharon" userId="9ed40bdc-079d-4cee-a990-4411351f7f9c" providerId="ADAL" clId="{DD93C774-82BE-4DBD-AB5E-BA44CCD0E829}" dt="2023-08-30T05:26:23.775" v="1149" actId="20577"/>
        <pc:sldMkLst>
          <pc:docMk/>
          <pc:sldMk cId="825865558" sldId="278"/>
        </pc:sldMkLst>
      </pc:sldChg>
      <pc:sldChg chg="modSp mod">
        <pc:chgData name="Lim, Sharon" userId="9ed40bdc-079d-4cee-a990-4411351f7f9c" providerId="ADAL" clId="{DD93C774-82BE-4DBD-AB5E-BA44CCD0E829}" dt="2023-08-30T05:15:59.177" v="963" actId="1076"/>
        <pc:sldMkLst>
          <pc:docMk/>
          <pc:sldMk cId="1497786937" sldId="279"/>
        </pc:sldMkLst>
        <pc:picChg chg="mod">
          <ac:chgData name="Lim, Sharon" userId="9ed40bdc-079d-4cee-a990-4411351f7f9c" providerId="ADAL" clId="{DD93C774-82BE-4DBD-AB5E-BA44CCD0E829}" dt="2023-08-30T05:15:59.177" v="963" actId="1076"/>
          <ac:picMkLst>
            <pc:docMk/>
            <pc:sldMk cId="1497786937" sldId="279"/>
            <ac:picMk id="4" creationId="{D248BC43-3F42-780D-7B75-1AA5DF8C3964}"/>
          </ac:picMkLst>
        </pc:picChg>
      </pc:sldChg>
      <pc:sldChg chg="addSp delSp modSp add mod ord">
        <pc:chgData name="Lim, Sharon" userId="9ed40bdc-079d-4cee-a990-4411351f7f9c" providerId="ADAL" clId="{DD93C774-82BE-4DBD-AB5E-BA44CCD0E829}" dt="2023-08-30T05:16:14.024" v="1060"/>
        <pc:sldMkLst>
          <pc:docMk/>
          <pc:sldMk cId="2359217482" sldId="280"/>
        </pc:sldMkLst>
        <pc:spChg chg="mod">
          <ac:chgData name="Lim, Sharon" userId="9ed40bdc-079d-4cee-a990-4411351f7f9c" providerId="ADAL" clId="{DD93C774-82BE-4DBD-AB5E-BA44CCD0E829}" dt="2023-08-30T05:16:13.909" v="1031" actId="948"/>
          <ac:spMkLst>
            <pc:docMk/>
            <pc:sldMk cId="2359217482" sldId="280"/>
            <ac:spMk id="2" creationId="{4AD4EE2B-9293-EEFF-82B8-779E78CCBB55}"/>
          </ac:spMkLst>
        </pc:spChg>
        <pc:spChg chg="add del mod">
          <ac:chgData name="Lim, Sharon" userId="9ed40bdc-079d-4cee-a990-4411351f7f9c" providerId="ADAL" clId="{DD93C774-82BE-4DBD-AB5E-BA44CCD0E829}" dt="2023-08-30T05:12:46.557" v="290" actId="478"/>
          <ac:spMkLst>
            <pc:docMk/>
            <pc:sldMk cId="2359217482" sldId="280"/>
            <ac:spMk id="5" creationId="{38A43114-3119-D3E0-3A74-32CC44BC5154}"/>
          </ac:spMkLst>
        </pc:spChg>
        <pc:spChg chg="add del mod modVis">
          <ac:chgData name="Lim, Sharon" userId="9ed40bdc-079d-4cee-a990-4411351f7f9c" providerId="ADAL" clId="{DD93C774-82BE-4DBD-AB5E-BA44CCD0E829}" dt="2023-08-30T05:12:44.835" v="287"/>
          <ac:spMkLst>
            <pc:docMk/>
            <pc:sldMk cId="2359217482" sldId="280"/>
            <ac:spMk id="7" creationId="{41F8D32E-2D54-DEC2-C774-8C8F20B799F5}"/>
          </ac:spMkLst>
        </pc:spChg>
        <pc:spChg chg="add del mod modVis">
          <ac:chgData name="Lim, Sharon" userId="9ed40bdc-079d-4cee-a990-4411351f7f9c" providerId="ADAL" clId="{DD93C774-82BE-4DBD-AB5E-BA44CCD0E829}" dt="2023-08-30T05:13:24.805" v="379"/>
          <ac:spMkLst>
            <pc:docMk/>
            <pc:sldMk cId="2359217482" sldId="280"/>
            <ac:spMk id="9" creationId="{E0730A32-ACEA-EDF8-1574-66F3AC5909FB}"/>
          </ac:spMkLst>
        </pc:spChg>
        <pc:spChg chg="add del mod modVis">
          <ac:chgData name="Lim, Sharon" userId="9ed40bdc-079d-4cee-a990-4411351f7f9c" providerId="ADAL" clId="{DD93C774-82BE-4DBD-AB5E-BA44CCD0E829}" dt="2023-08-30T05:16:09.752" v="993"/>
          <ac:spMkLst>
            <pc:docMk/>
            <pc:sldMk cId="2359217482" sldId="280"/>
            <ac:spMk id="10" creationId="{8072F0DC-84AE-C1A9-FC93-2D1AE153A6ED}"/>
          </ac:spMkLst>
        </pc:spChg>
        <pc:spChg chg="add del mod modVis">
          <ac:chgData name="Lim, Sharon" userId="9ed40bdc-079d-4cee-a990-4411351f7f9c" providerId="ADAL" clId="{DD93C774-82BE-4DBD-AB5E-BA44CCD0E829}" dt="2023-08-30T05:16:11.676" v="1026"/>
          <ac:spMkLst>
            <pc:docMk/>
            <pc:sldMk cId="2359217482" sldId="280"/>
            <ac:spMk id="11" creationId="{B24B15A7-0099-A782-B103-BC04F32D54E5}"/>
          </ac:spMkLst>
        </pc:spChg>
        <pc:spChg chg="add del mod modVis">
          <ac:chgData name="Lim, Sharon" userId="9ed40bdc-079d-4cee-a990-4411351f7f9c" providerId="ADAL" clId="{DD93C774-82BE-4DBD-AB5E-BA44CCD0E829}" dt="2023-08-30T05:16:14.015" v="1058"/>
          <ac:spMkLst>
            <pc:docMk/>
            <pc:sldMk cId="2359217482" sldId="280"/>
            <ac:spMk id="12" creationId="{F24F3D6C-6566-E43F-71C1-01371EF890DE}"/>
          </ac:spMkLst>
        </pc:spChg>
        <pc:graphicFrameChg chg="mod">
          <ac:chgData name="Lim, Sharon" userId="9ed40bdc-079d-4cee-a990-4411351f7f9c" providerId="ADAL" clId="{DD93C774-82BE-4DBD-AB5E-BA44CCD0E829}" dt="2023-08-30T05:16:14.024" v="1060"/>
          <ac:graphicFrameMkLst>
            <pc:docMk/>
            <pc:sldMk cId="2359217482" sldId="280"/>
            <ac:graphicFrameMk id="4" creationId="{A6A971DE-C463-9317-50BF-0D2513D1B0F1}"/>
          </ac:graphicFrameMkLst>
        </pc:graphicFrameChg>
        <pc:picChg chg="del">
          <ac:chgData name="Lim, Sharon" userId="9ed40bdc-079d-4cee-a990-4411351f7f9c" providerId="ADAL" clId="{DD93C774-82BE-4DBD-AB5E-BA44CCD0E829}" dt="2023-08-30T05:12:39.841" v="258" actId="478"/>
          <ac:picMkLst>
            <pc:docMk/>
            <pc:sldMk cId="2359217482" sldId="280"/>
            <ac:picMk id="6" creationId="{B7EA377F-7D67-FAED-58D7-25CC97EF2F2F}"/>
          </ac:picMkLst>
        </pc:picChg>
        <pc:picChg chg="add mod">
          <ac:chgData name="Lim, Sharon" userId="9ed40bdc-079d-4cee-a990-4411351f7f9c" providerId="ADAL" clId="{DD93C774-82BE-4DBD-AB5E-BA44CCD0E829}" dt="2023-08-30T05:12:52.767" v="291"/>
          <ac:picMkLst>
            <pc:docMk/>
            <pc:sldMk cId="2359217482" sldId="280"/>
            <ac:picMk id="8" creationId="{681353B7-65F7-D7EE-BE09-B8694814D568}"/>
          </ac:picMkLst>
        </pc:picChg>
      </pc:sldChg>
      <pc:sldChg chg="addSp delSp modSp new add mod ord">
        <pc:chgData name="Lim, Sharon" userId="9ed40bdc-079d-4cee-a990-4411351f7f9c" providerId="ADAL" clId="{DD93C774-82BE-4DBD-AB5E-BA44CCD0E829}" dt="2023-09-01T00:05:13.473" v="63756" actId="20577"/>
        <pc:sldMkLst>
          <pc:docMk/>
          <pc:sldMk cId="2343350482" sldId="281"/>
        </pc:sldMkLst>
        <pc:spChg chg="add del mod">
          <ac:chgData name="Lim, Sharon" userId="9ed40bdc-079d-4cee-a990-4411351f7f9c" providerId="ADAL" clId="{DD93C774-82BE-4DBD-AB5E-BA44CCD0E829}" dt="2023-08-31T05:33:40.392" v="1837" actId="948"/>
          <ac:spMkLst>
            <pc:docMk/>
            <pc:sldMk cId="2343350482" sldId="281"/>
            <ac:spMk id="2" creationId="{600B01BF-02D1-CDA6-C6C2-31CB8AC4D89F}"/>
          </ac:spMkLst>
        </pc:spChg>
        <pc:spChg chg="mod">
          <ac:chgData name="Lim, Sharon" userId="9ed40bdc-079d-4cee-a990-4411351f7f9c" providerId="ADAL" clId="{DD93C774-82BE-4DBD-AB5E-BA44CCD0E829}" dt="2023-09-01T00:05:13.473" v="63756" actId="20577"/>
          <ac:spMkLst>
            <pc:docMk/>
            <pc:sldMk cId="2343350482" sldId="281"/>
            <ac:spMk id="3" creationId="{DFD421EC-8DA7-D30E-8943-05C4B368D716}"/>
          </ac:spMkLst>
        </pc:spChg>
        <pc:spChg chg="add del mod modVis">
          <ac:chgData name="Lim, Sharon" userId="9ed40bdc-079d-4cee-a990-4411351f7f9c" providerId="ADAL" clId="{DD93C774-82BE-4DBD-AB5E-BA44CCD0E829}" dt="2023-08-31T05:33:20.030" v="1705"/>
          <ac:spMkLst>
            <pc:docMk/>
            <pc:sldMk cId="2343350482" sldId="281"/>
            <ac:spMk id="5" creationId="{DACD65A3-1222-B8AB-0482-789E7C60B55C}"/>
          </ac:spMkLst>
        </pc:spChg>
        <pc:spChg chg="add del mod modVis">
          <ac:chgData name="Lim, Sharon" userId="9ed40bdc-079d-4cee-a990-4411351f7f9c" providerId="ADAL" clId="{DD93C774-82BE-4DBD-AB5E-BA44CCD0E829}" dt="2023-08-31T05:33:34.710" v="1771"/>
          <ac:spMkLst>
            <pc:docMk/>
            <pc:sldMk cId="2343350482" sldId="281"/>
            <ac:spMk id="7" creationId="{C6042A2B-FB2C-945D-A702-81333DA820A4}"/>
          </ac:spMkLst>
        </pc:spChg>
        <pc:spChg chg="add del mod modVis">
          <ac:chgData name="Lim, Sharon" userId="9ed40bdc-079d-4cee-a990-4411351f7f9c" providerId="ADAL" clId="{DD93C774-82BE-4DBD-AB5E-BA44CCD0E829}" dt="2023-08-31T05:33:36.978" v="1806"/>
          <ac:spMkLst>
            <pc:docMk/>
            <pc:sldMk cId="2343350482" sldId="281"/>
            <ac:spMk id="8" creationId="{9EDAA523-774D-9EFF-A7E9-6210E9BA6C4E}"/>
          </ac:spMkLst>
        </pc:spChg>
        <pc:spChg chg="add del mod modVis">
          <ac:chgData name="Lim, Sharon" userId="9ed40bdc-079d-4cee-a990-4411351f7f9c" providerId="ADAL" clId="{DD93C774-82BE-4DBD-AB5E-BA44CCD0E829}" dt="2023-08-31T05:33:37.779" v="1833"/>
          <ac:spMkLst>
            <pc:docMk/>
            <pc:sldMk cId="2343350482" sldId="281"/>
            <ac:spMk id="9" creationId="{4C429E1B-7D1B-E7F7-E285-B78F21D3758A}"/>
          </ac:spMkLst>
        </pc:spChg>
        <pc:graphicFrameChg chg="add mod ord modVis replST delST">
          <ac:chgData name="Lim, Sharon" userId="9ed40bdc-079d-4cee-a990-4411351f7f9c" providerId="ADAL" clId="{DD93C774-82BE-4DBD-AB5E-BA44CCD0E829}" dt="2023-08-31T05:33:15.985" v="1663" actId="14100"/>
          <ac:graphicFrameMkLst>
            <pc:docMk/>
            <pc:sldMk cId="2343350482" sldId="281"/>
            <ac:graphicFrameMk id="4" creationId="{00E6C3B5-797F-49FB-E731-D32BD629DEAB}"/>
          </ac:graphicFrameMkLst>
        </pc:graphicFrameChg>
        <pc:graphicFrameChg chg="add mod ord modVis replST">
          <ac:chgData name="Lim, Sharon" userId="9ed40bdc-079d-4cee-a990-4411351f7f9c" providerId="ADAL" clId="{DD93C774-82BE-4DBD-AB5E-BA44CCD0E829}" dt="2023-08-31T05:33:40.399" v="1841"/>
          <ac:graphicFrameMkLst>
            <pc:docMk/>
            <pc:sldMk cId="2343350482" sldId="281"/>
            <ac:graphicFrameMk id="6" creationId="{FC156375-DD29-A3AD-0620-5E663596961B}"/>
          </ac:graphicFrameMkLst>
        </pc:graphicFrameChg>
      </pc:sldChg>
      <pc:sldChg chg="addSp delSp modSp new add mod ord">
        <pc:chgData name="Lim, Sharon" userId="9ed40bdc-079d-4cee-a990-4411351f7f9c" providerId="ADAL" clId="{DD93C774-82BE-4DBD-AB5E-BA44CCD0E829}" dt="2023-08-31T08:02:02.230" v="7569"/>
        <pc:sldMkLst>
          <pc:docMk/>
          <pc:sldMk cId="1490681203" sldId="282"/>
        </pc:sldMkLst>
        <pc:spChg chg="mod">
          <ac:chgData name="Lim, Sharon" userId="9ed40bdc-079d-4cee-a990-4411351f7f9c" providerId="ADAL" clId="{DD93C774-82BE-4DBD-AB5E-BA44CCD0E829}" dt="2023-08-31T05:43:53.945" v="2558" actId="948"/>
          <ac:spMkLst>
            <pc:docMk/>
            <pc:sldMk cId="1490681203" sldId="282"/>
            <ac:spMk id="2" creationId="{E371B5C3-BBD7-2A92-3CF7-D71979F6AA70}"/>
          </ac:spMkLst>
        </pc:spChg>
        <pc:spChg chg="mod">
          <ac:chgData name="Lim, Sharon" userId="9ed40bdc-079d-4cee-a990-4411351f7f9c" providerId="ADAL" clId="{DD93C774-82BE-4DBD-AB5E-BA44CCD0E829}" dt="2023-08-31T07:10:14.434" v="6477" actId="20577"/>
          <ac:spMkLst>
            <pc:docMk/>
            <pc:sldMk cId="1490681203" sldId="282"/>
            <ac:spMk id="3" creationId="{19202440-BBCC-D71C-7826-E0FF70E75D29}"/>
          </ac:spMkLst>
        </pc:spChg>
        <pc:spChg chg="add del mod modVis">
          <ac:chgData name="Lim, Sharon" userId="9ed40bdc-079d-4cee-a990-4411351f7f9c" providerId="ADAL" clId="{DD93C774-82BE-4DBD-AB5E-BA44CCD0E829}" dt="2023-08-31T05:43:51.791" v="2506"/>
          <ac:spMkLst>
            <pc:docMk/>
            <pc:sldMk cId="1490681203" sldId="282"/>
            <ac:spMk id="4" creationId="{3C71AE6D-B052-BFE3-C34A-2E3B77F030C2}"/>
          </ac:spMkLst>
        </pc:spChg>
        <pc:spChg chg="add del mod modVis">
          <ac:chgData name="Lim, Sharon" userId="9ed40bdc-079d-4cee-a990-4411351f7f9c" providerId="ADAL" clId="{DD93C774-82BE-4DBD-AB5E-BA44CCD0E829}" dt="2023-08-31T05:43:53.004" v="2550"/>
          <ac:spMkLst>
            <pc:docMk/>
            <pc:sldMk cId="1490681203" sldId="282"/>
            <ac:spMk id="6" creationId="{710ED8AF-8FE0-33E8-9C10-BE642178FDF5}"/>
          </ac:spMkLst>
        </pc:spChg>
        <pc:spChg chg="add del mod modVis">
          <ac:chgData name="Lim, Sharon" userId="9ed40bdc-079d-4cee-a990-4411351f7f9c" providerId="ADAL" clId="{DD93C774-82BE-4DBD-AB5E-BA44CCD0E829}" dt="2023-08-31T05:43:54.007" v="2581"/>
          <ac:spMkLst>
            <pc:docMk/>
            <pc:sldMk cId="1490681203" sldId="282"/>
            <ac:spMk id="7" creationId="{DEA653FF-CB7A-D36B-BF42-D13516253561}"/>
          </ac:spMkLst>
        </pc:spChg>
        <pc:spChg chg="add mod">
          <ac:chgData name="Lim, Sharon" userId="9ed40bdc-079d-4cee-a990-4411351f7f9c" providerId="ADAL" clId="{DD93C774-82BE-4DBD-AB5E-BA44CCD0E829}" dt="2023-08-31T08:02:02.230" v="7569"/>
          <ac:spMkLst>
            <pc:docMk/>
            <pc:sldMk cId="1490681203" sldId="282"/>
            <ac:spMk id="8" creationId="{B3D315AE-2CD9-F309-9D34-98556B57A120}"/>
          </ac:spMkLst>
        </pc:spChg>
        <pc:spChg chg="add mod">
          <ac:chgData name="Lim, Sharon" userId="9ed40bdc-079d-4cee-a990-4411351f7f9c" providerId="ADAL" clId="{DD93C774-82BE-4DBD-AB5E-BA44CCD0E829}" dt="2023-08-31T08:02:02.230" v="7569"/>
          <ac:spMkLst>
            <pc:docMk/>
            <pc:sldMk cId="1490681203" sldId="282"/>
            <ac:spMk id="9" creationId="{F352212B-7FF4-D4CE-019D-19432232B582}"/>
          </ac:spMkLst>
        </pc:spChg>
        <pc:graphicFrameChg chg="add mod ord modVis replST">
          <ac:chgData name="Lim, Sharon" userId="9ed40bdc-079d-4cee-a990-4411351f7f9c" providerId="ADAL" clId="{DD93C774-82BE-4DBD-AB5E-BA44CCD0E829}" dt="2023-08-31T05:43:54.014" v="2583"/>
          <ac:graphicFrameMkLst>
            <pc:docMk/>
            <pc:sldMk cId="1490681203" sldId="282"/>
            <ac:graphicFrameMk id="5" creationId="{7BFFA62B-8410-FE95-0CC2-25B1825F08EF}"/>
          </ac:graphicFrameMkLst>
        </pc:graphicFrameChg>
      </pc:sldChg>
      <pc:sldChg chg="addSp delSp modSp add mod">
        <pc:chgData name="Lim, Sharon" userId="9ed40bdc-079d-4cee-a990-4411351f7f9c" providerId="ADAL" clId="{DD93C774-82BE-4DBD-AB5E-BA44CCD0E829}" dt="2023-08-31T06:24:47.083" v="5239" actId="5793"/>
        <pc:sldMkLst>
          <pc:docMk/>
          <pc:sldMk cId="1612483742" sldId="283"/>
        </pc:sldMkLst>
        <pc:spChg chg="mod">
          <ac:chgData name="Lim, Sharon" userId="9ed40bdc-079d-4cee-a990-4411351f7f9c" providerId="ADAL" clId="{DD93C774-82BE-4DBD-AB5E-BA44CCD0E829}" dt="2023-08-31T05:44:46.878" v="2720" actId="948"/>
          <ac:spMkLst>
            <pc:docMk/>
            <pc:sldMk cId="1612483742" sldId="283"/>
            <ac:spMk id="2" creationId="{E371B5C3-BBD7-2A92-3CF7-D71979F6AA70}"/>
          </ac:spMkLst>
        </pc:spChg>
        <pc:spChg chg="mod">
          <ac:chgData name="Lim, Sharon" userId="9ed40bdc-079d-4cee-a990-4411351f7f9c" providerId="ADAL" clId="{DD93C774-82BE-4DBD-AB5E-BA44CCD0E829}" dt="2023-08-31T06:24:47.083" v="5239" actId="5793"/>
          <ac:spMkLst>
            <pc:docMk/>
            <pc:sldMk cId="1612483742" sldId="283"/>
            <ac:spMk id="3" creationId="{19202440-BBCC-D71C-7826-E0FF70E75D29}"/>
          </ac:spMkLst>
        </pc:spChg>
        <pc:spChg chg="add del mod modVis">
          <ac:chgData name="Lim, Sharon" userId="9ed40bdc-079d-4cee-a990-4411351f7f9c" providerId="ADAL" clId="{DD93C774-82BE-4DBD-AB5E-BA44CCD0E829}" dt="2023-08-31T05:44:07.496" v="2637"/>
          <ac:spMkLst>
            <pc:docMk/>
            <pc:sldMk cId="1612483742" sldId="283"/>
            <ac:spMk id="4" creationId="{2D99DFE5-690D-88A4-3DCA-7317E72166CE}"/>
          </ac:spMkLst>
        </pc:spChg>
        <pc:spChg chg="add del mod modVis">
          <ac:chgData name="Lim, Sharon" userId="9ed40bdc-079d-4cee-a990-4411351f7f9c" providerId="ADAL" clId="{DD93C774-82BE-4DBD-AB5E-BA44CCD0E829}" dt="2023-08-31T05:44:08.895" v="2667"/>
          <ac:spMkLst>
            <pc:docMk/>
            <pc:sldMk cId="1612483742" sldId="283"/>
            <ac:spMk id="6" creationId="{92CFCC85-790A-2E2F-7813-57FB6F2AB5DA}"/>
          </ac:spMkLst>
        </pc:spChg>
        <pc:spChg chg="add del mod modVis">
          <ac:chgData name="Lim, Sharon" userId="9ed40bdc-079d-4cee-a990-4411351f7f9c" providerId="ADAL" clId="{DD93C774-82BE-4DBD-AB5E-BA44CCD0E829}" dt="2023-08-31T05:44:46.952" v="2743"/>
          <ac:spMkLst>
            <pc:docMk/>
            <pc:sldMk cId="1612483742" sldId="283"/>
            <ac:spMk id="7" creationId="{FA4EEFA7-45F7-8EB6-266F-3B55C7F2DE23}"/>
          </ac:spMkLst>
        </pc:spChg>
        <pc:graphicFrameChg chg="mod">
          <ac:chgData name="Lim, Sharon" userId="9ed40bdc-079d-4cee-a990-4411351f7f9c" providerId="ADAL" clId="{DD93C774-82BE-4DBD-AB5E-BA44CCD0E829}" dt="2023-08-31T05:44:46.956" v="2745"/>
          <ac:graphicFrameMkLst>
            <pc:docMk/>
            <pc:sldMk cId="1612483742" sldId="283"/>
            <ac:graphicFrameMk id="5" creationId="{7BFFA62B-8410-FE95-0CC2-25B1825F08EF}"/>
          </ac:graphicFrameMkLst>
        </pc:graphicFrameChg>
      </pc:sldChg>
      <pc:sldChg chg="addSp delSp modSp add mod">
        <pc:chgData name="Lim, Sharon" userId="9ed40bdc-079d-4cee-a990-4411351f7f9c" providerId="ADAL" clId="{DD93C774-82BE-4DBD-AB5E-BA44CCD0E829}" dt="2023-08-31T05:45:46.968" v="3007" actId="20577"/>
        <pc:sldMkLst>
          <pc:docMk/>
          <pc:sldMk cId="2210099988" sldId="284"/>
        </pc:sldMkLst>
        <pc:spChg chg="mod">
          <ac:chgData name="Lim, Sharon" userId="9ed40bdc-079d-4cee-a990-4411351f7f9c" providerId="ADAL" clId="{DD93C774-82BE-4DBD-AB5E-BA44CCD0E829}" dt="2023-08-31T05:45:34.775" v="2967" actId="948"/>
          <ac:spMkLst>
            <pc:docMk/>
            <pc:sldMk cId="2210099988" sldId="284"/>
            <ac:spMk id="2" creationId="{E371B5C3-BBD7-2A92-3CF7-D71979F6AA70}"/>
          </ac:spMkLst>
        </pc:spChg>
        <pc:spChg chg="mod">
          <ac:chgData name="Lim, Sharon" userId="9ed40bdc-079d-4cee-a990-4411351f7f9c" providerId="ADAL" clId="{DD93C774-82BE-4DBD-AB5E-BA44CCD0E829}" dt="2023-08-31T05:45:46.968" v="3007" actId="20577"/>
          <ac:spMkLst>
            <pc:docMk/>
            <pc:sldMk cId="2210099988" sldId="284"/>
            <ac:spMk id="3" creationId="{19202440-BBCC-D71C-7826-E0FF70E75D29}"/>
          </ac:spMkLst>
        </pc:spChg>
        <pc:spChg chg="add del mod modVis">
          <ac:chgData name="Lim, Sharon" userId="9ed40bdc-079d-4cee-a990-4411351f7f9c" providerId="ADAL" clId="{DD93C774-82BE-4DBD-AB5E-BA44CCD0E829}" dt="2023-08-31T05:44:50.965" v="2772"/>
          <ac:spMkLst>
            <pc:docMk/>
            <pc:sldMk cId="2210099988" sldId="284"/>
            <ac:spMk id="4" creationId="{58E1617B-72CF-C7F2-3EFA-3F50C0371CA2}"/>
          </ac:spMkLst>
        </pc:spChg>
        <pc:spChg chg="add del mod modVis">
          <ac:chgData name="Lim, Sharon" userId="9ed40bdc-079d-4cee-a990-4411351f7f9c" providerId="ADAL" clId="{DD93C774-82BE-4DBD-AB5E-BA44CCD0E829}" dt="2023-08-31T05:44:51.859" v="2800"/>
          <ac:spMkLst>
            <pc:docMk/>
            <pc:sldMk cId="2210099988" sldId="284"/>
            <ac:spMk id="6" creationId="{58E3C82C-D46C-29B6-DD12-A821EF5AB4B4}"/>
          </ac:spMkLst>
        </pc:spChg>
        <pc:spChg chg="add del mod modVis">
          <ac:chgData name="Lim, Sharon" userId="9ed40bdc-079d-4cee-a990-4411351f7f9c" providerId="ADAL" clId="{DD93C774-82BE-4DBD-AB5E-BA44CCD0E829}" dt="2023-08-31T05:45:31.685" v="2923"/>
          <ac:spMkLst>
            <pc:docMk/>
            <pc:sldMk cId="2210099988" sldId="284"/>
            <ac:spMk id="7" creationId="{F08F8703-412D-AC06-392F-95B75DC5BB88}"/>
          </ac:spMkLst>
        </pc:spChg>
        <pc:spChg chg="add del mod modVis">
          <ac:chgData name="Lim, Sharon" userId="9ed40bdc-079d-4cee-a990-4411351f7f9c" providerId="ADAL" clId="{DD93C774-82BE-4DBD-AB5E-BA44CCD0E829}" dt="2023-08-31T05:45:33.775" v="2958"/>
          <ac:spMkLst>
            <pc:docMk/>
            <pc:sldMk cId="2210099988" sldId="284"/>
            <ac:spMk id="8" creationId="{53C40DD7-C9AF-68D8-C9D1-D464DDB9BA9D}"/>
          </ac:spMkLst>
        </pc:spChg>
        <pc:spChg chg="add del mod modVis">
          <ac:chgData name="Lim, Sharon" userId="9ed40bdc-079d-4cee-a990-4411351f7f9c" providerId="ADAL" clId="{DD93C774-82BE-4DBD-AB5E-BA44CCD0E829}" dt="2023-08-31T05:45:34.851" v="2990"/>
          <ac:spMkLst>
            <pc:docMk/>
            <pc:sldMk cId="2210099988" sldId="284"/>
            <ac:spMk id="9" creationId="{248E88D7-1777-C38F-7C75-285E7B5E9D22}"/>
          </ac:spMkLst>
        </pc:spChg>
        <pc:graphicFrameChg chg="mod">
          <ac:chgData name="Lim, Sharon" userId="9ed40bdc-079d-4cee-a990-4411351f7f9c" providerId="ADAL" clId="{DD93C774-82BE-4DBD-AB5E-BA44CCD0E829}" dt="2023-08-31T05:45:34.857" v="2992"/>
          <ac:graphicFrameMkLst>
            <pc:docMk/>
            <pc:sldMk cId="2210099988" sldId="284"/>
            <ac:graphicFrameMk id="5" creationId="{7BFFA62B-8410-FE95-0CC2-25B1825F08EF}"/>
          </ac:graphicFrameMkLst>
        </pc:graphicFrameChg>
      </pc:sldChg>
      <pc:sldChg chg="addSp delSp modSp add mod">
        <pc:chgData name="Lim, Sharon" userId="9ed40bdc-079d-4cee-a990-4411351f7f9c" providerId="ADAL" clId="{DD93C774-82BE-4DBD-AB5E-BA44CCD0E829}" dt="2023-08-31T06:27:30.052" v="5670"/>
        <pc:sldMkLst>
          <pc:docMk/>
          <pc:sldMk cId="4237438849" sldId="285"/>
        </pc:sldMkLst>
        <pc:spChg chg="mod">
          <ac:chgData name="Lim, Sharon" userId="9ed40bdc-079d-4cee-a990-4411351f7f9c" providerId="ADAL" clId="{DD93C774-82BE-4DBD-AB5E-BA44CCD0E829}" dt="2023-08-31T06:27:29.970" v="5645" actId="948"/>
          <ac:spMkLst>
            <pc:docMk/>
            <pc:sldMk cId="4237438849" sldId="285"/>
            <ac:spMk id="2" creationId="{E371B5C3-BBD7-2A92-3CF7-D71979F6AA70}"/>
          </ac:spMkLst>
        </pc:spChg>
        <pc:spChg chg="mod">
          <ac:chgData name="Lim, Sharon" userId="9ed40bdc-079d-4cee-a990-4411351f7f9c" providerId="ADAL" clId="{DD93C774-82BE-4DBD-AB5E-BA44CCD0E829}" dt="2023-08-31T06:26:11.587" v="5267" actId="5793"/>
          <ac:spMkLst>
            <pc:docMk/>
            <pc:sldMk cId="4237438849" sldId="285"/>
            <ac:spMk id="3" creationId="{19202440-BBCC-D71C-7826-E0FF70E75D29}"/>
          </ac:spMkLst>
        </pc:spChg>
        <pc:spChg chg="add del mod modVis">
          <ac:chgData name="Lim, Sharon" userId="9ed40bdc-079d-4cee-a990-4411351f7f9c" providerId="ADAL" clId="{DD93C774-82BE-4DBD-AB5E-BA44CCD0E829}" dt="2023-08-31T05:49:36.703" v="3300"/>
          <ac:spMkLst>
            <pc:docMk/>
            <pc:sldMk cId="4237438849" sldId="285"/>
            <ac:spMk id="4" creationId="{1A185180-2F10-B8BE-D99E-0C3C550873A4}"/>
          </ac:spMkLst>
        </pc:spChg>
        <pc:spChg chg="add del mod modVis">
          <ac:chgData name="Lim, Sharon" userId="9ed40bdc-079d-4cee-a990-4411351f7f9c" providerId="ADAL" clId="{DD93C774-82BE-4DBD-AB5E-BA44CCD0E829}" dt="2023-08-31T06:26:14.538" v="5293"/>
          <ac:spMkLst>
            <pc:docMk/>
            <pc:sldMk cId="4237438849" sldId="285"/>
            <ac:spMk id="6" creationId="{E42627EE-E990-804E-65B7-70B2328763CB}"/>
          </ac:spMkLst>
        </pc:spChg>
        <pc:spChg chg="add del mod modVis">
          <ac:chgData name="Lim, Sharon" userId="9ed40bdc-079d-4cee-a990-4411351f7f9c" providerId="ADAL" clId="{DD93C774-82BE-4DBD-AB5E-BA44CCD0E829}" dt="2023-08-31T06:26:16.287" v="5331"/>
          <ac:spMkLst>
            <pc:docMk/>
            <pc:sldMk cId="4237438849" sldId="285"/>
            <ac:spMk id="7" creationId="{884DF40A-43B3-A5C5-0FEF-87FC1BB124C6}"/>
          </ac:spMkLst>
        </pc:spChg>
        <pc:spChg chg="add del mod modVis">
          <ac:chgData name="Lim, Sharon" userId="9ed40bdc-079d-4cee-a990-4411351f7f9c" providerId="ADAL" clId="{DD93C774-82BE-4DBD-AB5E-BA44CCD0E829}" dt="2023-08-31T06:26:21.369" v="5365"/>
          <ac:spMkLst>
            <pc:docMk/>
            <pc:sldMk cId="4237438849" sldId="285"/>
            <ac:spMk id="8" creationId="{27ED5E1A-F926-7903-41B1-879027B4469B}"/>
          </ac:spMkLst>
        </pc:spChg>
        <pc:spChg chg="add del mod modVis">
          <ac:chgData name="Lim, Sharon" userId="9ed40bdc-079d-4cee-a990-4411351f7f9c" providerId="ADAL" clId="{DD93C774-82BE-4DBD-AB5E-BA44CCD0E829}" dt="2023-08-31T06:26:23.741" v="5396"/>
          <ac:spMkLst>
            <pc:docMk/>
            <pc:sldMk cId="4237438849" sldId="285"/>
            <ac:spMk id="9" creationId="{BB2366FA-C4B7-8C64-39DA-E510900C90BF}"/>
          </ac:spMkLst>
        </pc:spChg>
        <pc:spChg chg="add del mod modVis">
          <ac:chgData name="Lim, Sharon" userId="9ed40bdc-079d-4cee-a990-4411351f7f9c" providerId="ADAL" clId="{DD93C774-82BE-4DBD-AB5E-BA44CCD0E829}" dt="2023-08-31T06:26:24.661" v="5427"/>
          <ac:spMkLst>
            <pc:docMk/>
            <pc:sldMk cId="4237438849" sldId="285"/>
            <ac:spMk id="10" creationId="{62A7074D-C7E0-219F-36C2-41A1726BEFC3}"/>
          </ac:spMkLst>
        </pc:spChg>
        <pc:spChg chg="add del mod modVis">
          <ac:chgData name="Lim, Sharon" userId="9ed40bdc-079d-4cee-a990-4411351f7f9c" providerId="ADAL" clId="{DD93C774-82BE-4DBD-AB5E-BA44CCD0E829}" dt="2023-08-31T06:26:28.146" v="5473"/>
          <ac:spMkLst>
            <pc:docMk/>
            <pc:sldMk cId="4237438849" sldId="285"/>
            <ac:spMk id="11" creationId="{41C49651-A3DB-FF63-D1F3-24F20DD7B84F}"/>
          </ac:spMkLst>
        </pc:spChg>
        <pc:spChg chg="add del mod modVis">
          <ac:chgData name="Lim, Sharon" userId="9ed40bdc-079d-4cee-a990-4411351f7f9c" providerId="ADAL" clId="{DD93C774-82BE-4DBD-AB5E-BA44CCD0E829}" dt="2023-08-31T06:26:56.756" v="5531"/>
          <ac:spMkLst>
            <pc:docMk/>
            <pc:sldMk cId="4237438849" sldId="285"/>
            <ac:spMk id="12" creationId="{A11D6F7A-4700-FDD5-A5ED-B74BD5932FAB}"/>
          </ac:spMkLst>
        </pc:spChg>
        <pc:spChg chg="add del mod modVis">
          <ac:chgData name="Lim, Sharon" userId="9ed40bdc-079d-4cee-a990-4411351f7f9c" providerId="ADAL" clId="{DD93C774-82BE-4DBD-AB5E-BA44CCD0E829}" dt="2023-08-31T06:27:22.119" v="5579"/>
          <ac:spMkLst>
            <pc:docMk/>
            <pc:sldMk cId="4237438849" sldId="285"/>
            <ac:spMk id="13" creationId="{9A1D82A8-0C9F-C2F2-5F7B-71F31A09D3FD}"/>
          </ac:spMkLst>
        </pc:spChg>
        <pc:spChg chg="add del mod modVis">
          <ac:chgData name="Lim, Sharon" userId="9ed40bdc-079d-4cee-a990-4411351f7f9c" providerId="ADAL" clId="{DD93C774-82BE-4DBD-AB5E-BA44CCD0E829}" dt="2023-08-31T06:27:24.227" v="5614"/>
          <ac:spMkLst>
            <pc:docMk/>
            <pc:sldMk cId="4237438849" sldId="285"/>
            <ac:spMk id="14" creationId="{C041DF43-9E73-EFB8-3BD6-647EB593BCAC}"/>
          </ac:spMkLst>
        </pc:spChg>
        <pc:spChg chg="add del mod modVis">
          <ac:chgData name="Lim, Sharon" userId="9ed40bdc-079d-4cee-a990-4411351f7f9c" providerId="ADAL" clId="{DD93C774-82BE-4DBD-AB5E-BA44CCD0E829}" dt="2023-08-31T06:27:25.560" v="5641"/>
          <ac:spMkLst>
            <pc:docMk/>
            <pc:sldMk cId="4237438849" sldId="285"/>
            <ac:spMk id="15" creationId="{5F3FD6C2-5E9B-44EB-0C3F-42F8A138C506}"/>
          </ac:spMkLst>
        </pc:spChg>
        <pc:spChg chg="add del mod modVis">
          <ac:chgData name="Lim, Sharon" userId="9ed40bdc-079d-4cee-a990-4411351f7f9c" providerId="ADAL" clId="{DD93C774-82BE-4DBD-AB5E-BA44CCD0E829}" dt="2023-08-31T06:27:30.045" v="5668"/>
          <ac:spMkLst>
            <pc:docMk/>
            <pc:sldMk cId="4237438849" sldId="285"/>
            <ac:spMk id="16" creationId="{E70CF7C7-1863-579A-A58F-72349F754EC6}"/>
          </ac:spMkLst>
        </pc:spChg>
        <pc:graphicFrameChg chg="mod">
          <ac:chgData name="Lim, Sharon" userId="9ed40bdc-079d-4cee-a990-4411351f7f9c" providerId="ADAL" clId="{DD93C774-82BE-4DBD-AB5E-BA44CCD0E829}" dt="2023-08-31T06:27:30.052" v="5670"/>
          <ac:graphicFrameMkLst>
            <pc:docMk/>
            <pc:sldMk cId="4237438849" sldId="285"/>
            <ac:graphicFrameMk id="5" creationId="{7BFFA62B-8410-FE95-0CC2-25B1825F08EF}"/>
          </ac:graphicFrameMkLst>
        </pc:graphicFrameChg>
      </pc:sldChg>
      <pc:sldChg chg="addSp delSp modSp add mod ord">
        <pc:chgData name="Lim, Sharon" userId="9ed40bdc-079d-4cee-a990-4411351f7f9c" providerId="ADAL" clId="{DD93C774-82BE-4DBD-AB5E-BA44CCD0E829}" dt="2023-08-31T08:21:58.882" v="7825"/>
        <pc:sldMkLst>
          <pc:docMk/>
          <pc:sldMk cId="1856231894" sldId="286"/>
        </pc:sldMkLst>
        <pc:spChg chg="mod">
          <ac:chgData name="Lim, Sharon" userId="9ed40bdc-079d-4cee-a990-4411351f7f9c" providerId="ADAL" clId="{DD93C774-82BE-4DBD-AB5E-BA44CCD0E829}" dt="2023-08-31T05:49:48.847" v="3328" actId="948"/>
          <ac:spMkLst>
            <pc:docMk/>
            <pc:sldMk cId="1856231894" sldId="286"/>
            <ac:spMk id="2" creationId="{E371B5C3-BBD7-2A92-3CF7-D71979F6AA70}"/>
          </ac:spMkLst>
        </pc:spChg>
        <pc:spChg chg="mod">
          <ac:chgData name="Lim, Sharon" userId="9ed40bdc-079d-4cee-a990-4411351f7f9c" providerId="ADAL" clId="{DD93C774-82BE-4DBD-AB5E-BA44CCD0E829}" dt="2023-08-31T05:55:25.489" v="3625" actId="20577"/>
          <ac:spMkLst>
            <pc:docMk/>
            <pc:sldMk cId="1856231894" sldId="286"/>
            <ac:spMk id="3" creationId="{19202440-BBCC-D71C-7826-E0FF70E75D29}"/>
          </ac:spMkLst>
        </pc:spChg>
        <pc:spChg chg="add del mod modVis">
          <ac:chgData name="Lim, Sharon" userId="9ed40bdc-079d-4cee-a990-4411351f7f9c" providerId="ADAL" clId="{DD93C774-82BE-4DBD-AB5E-BA44CCD0E829}" dt="2023-08-31T05:49:48.915" v="3351"/>
          <ac:spMkLst>
            <pc:docMk/>
            <pc:sldMk cId="1856231894" sldId="286"/>
            <ac:spMk id="4" creationId="{BD3BA0D0-69DE-028C-A334-3D27111BD821}"/>
          </ac:spMkLst>
        </pc:spChg>
        <pc:graphicFrameChg chg="mod">
          <ac:chgData name="Lim, Sharon" userId="9ed40bdc-079d-4cee-a990-4411351f7f9c" providerId="ADAL" clId="{DD93C774-82BE-4DBD-AB5E-BA44CCD0E829}" dt="2023-08-31T05:49:48.922" v="3353"/>
          <ac:graphicFrameMkLst>
            <pc:docMk/>
            <pc:sldMk cId="1856231894" sldId="286"/>
            <ac:graphicFrameMk id="5" creationId="{7BFFA62B-8410-FE95-0CC2-25B1825F08EF}"/>
          </ac:graphicFrameMkLst>
        </pc:graphicFrameChg>
      </pc:sldChg>
      <pc:sldChg chg="addSp delSp modSp add mod">
        <pc:chgData name="Lim, Sharon" userId="9ed40bdc-079d-4cee-a990-4411351f7f9c" providerId="ADAL" clId="{DD93C774-82BE-4DBD-AB5E-BA44CCD0E829}" dt="2023-08-31T06:22:13.277" v="5125" actId="20577"/>
        <pc:sldMkLst>
          <pc:docMk/>
          <pc:sldMk cId="751236549" sldId="287"/>
        </pc:sldMkLst>
        <pc:spChg chg="mod">
          <ac:chgData name="Lim, Sharon" userId="9ed40bdc-079d-4cee-a990-4411351f7f9c" providerId="ADAL" clId="{DD93C774-82BE-4DBD-AB5E-BA44CCD0E829}" dt="2023-08-31T05:58:00.925" v="3785" actId="948"/>
          <ac:spMkLst>
            <pc:docMk/>
            <pc:sldMk cId="751236549" sldId="287"/>
            <ac:spMk id="2" creationId="{E371B5C3-BBD7-2A92-3CF7-D71979F6AA70}"/>
          </ac:spMkLst>
        </pc:spChg>
        <pc:spChg chg="mod">
          <ac:chgData name="Lim, Sharon" userId="9ed40bdc-079d-4cee-a990-4411351f7f9c" providerId="ADAL" clId="{DD93C774-82BE-4DBD-AB5E-BA44CCD0E829}" dt="2023-08-31T06:22:13.277" v="5125" actId="20577"/>
          <ac:spMkLst>
            <pc:docMk/>
            <pc:sldMk cId="751236549" sldId="287"/>
            <ac:spMk id="3" creationId="{19202440-BBCC-D71C-7826-E0FF70E75D29}"/>
          </ac:spMkLst>
        </pc:spChg>
        <pc:spChg chg="add del mod modVis">
          <ac:chgData name="Lim, Sharon" userId="9ed40bdc-079d-4cee-a990-4411351f7f9c" providerId="ADAL" clId="{DD93C774-82BE-4DBD-AB5E-BA44CCD0E829}" dt="2023-08-31T05:57:55.776" v="3712"/>
          <ac:spMkLst>
            <pc:docMk/>
            <pc:sldMk cId="751236549" sldId="287"/>
            <ac:spMk id="4" creationId="{BE98389F-80B2-728A-3401-CB794C38ABA2}"/>
          </ac:spMkLst>
        </pc:spChg>
        <pc:spChg chg="add del mod modVis">
          <ac:chgData name="Lim, Sharon" userId="9ed40bdc-079d-4cee-a990-4411351f7f9c" providerId="ADAL" clId="{DD93C774-82BE-4DBD-AB5E-BA44CCD0E829}" dt="2023-08-31T05:57:58.155" v="3742"/>
          <ac:spMkLst>
            <pc:docMk/>
            <pc:sldMk cId="751236549" sldId="287"/>
            <ac:spMk id="6" creationId="{3A6B9BCE-CA7D-E981-5289-5C874553F3C9}"/>
          </ac:spMkLst>
        </pc:spChg>
        <pc:spChg chg="add del mod modVis">
          <ac:chgData name="Lim, Sharon" userId="9ed40bdc-079d-4cee-a990-4411351f7f9c" providerId="ADAL" clId="{DD93C774-82BE-4DBD-AB5E-BA44CCD0E829}" dt="2023-08-31T05:57:58.787" v="3769"/>
          <ac:spMkLst>
            <pc:docMk/>
            <pc:sldMk cId="751236549" sldId="287"/>
            <ac:spMk id="7" creationId="{4C091DF2-C9AE-4838-2D6C-32C08FBBB7F9}"/>
          </ac:spMkLst>
        </pc:spChg>
        <pc:spChg chg="add del mod modVis">
          <ac:chgData name="Lim, Sharon" userId="9ed40bdc-079d-4cee-a990-4411351f7f9c" providerId="ADAL" clId="{DD93C774-82BE-4DBD-AB5E-BA44CCD0E829}" dt="2023-08-31T05:58:00.995" v="3808"/>
          <ac:spMkLst>
            <pc:docMk/>
            <pc:sldMk cId="751236549" sldId="287"/>
            <ac:spMk id="8" creationId="{3A4B0BA0-EDF8-DFB0-2C07-9CD202B8AD36}"/>
          </ac:spMkLst>
        </pc:spChg>
        <pc:graphicFrameChg chg="mod">
          <ac:chgData name="Lim, Sharon" userId="9ed40bdc-079d-4cee-a990-4411351f7f9c" providerId="ADAL" clId="{DD93C774-82BE-4DBD-AB5E-BA44CCD0E829}" dt="2023-08-31T05:58:01.003" v="3810"/>
          <ac:graphicFrameMkLst>
            <pc:docMk/>
            <pc:sldMk cId="751236549" sldId="287"/>
            <ac:graphicFrameMk id="5" creationId="{7BFFA62B-8410-FE95-0CC2-25B1825F08EF}"/>
          </ac:graphicFrameMkLst>
        </pc:graphicFrameChg>
      </pc:sldChg>
      <pc:sldChg chg="addSp delSp modSp add mod">
        <pc:chgData name="Lim, Sharon" userId="9ed40bdc-079d-4cee-a990-4411351f7f9c" providerId="ADAL" clId="{DD93C774-82BE-4DBD-AB5E-BA44CCD0E829}" dt="2023-08-31T06:29:16.958" v="5765" actId="27636"/>
        <pc:sldMkLst>
          <pc:docMk/>
          <pc:sldMk cId="3953902710" sldId="288"/>
        </pc:sldMkLst>
        <pc:spChg chg="mod">
          <ac:chgData name="Lim, Sharon" userId="9ed40bdc-079d-4cee-a990-4411351f7f9c" providerId="ADAL" clId="{DD93C774-82BE-4DBD-AB5E-BA44CCD0E829}" dt="2023-08-31T05:59:00.678" v="3909" actId="948"/>
          <ac:spMkLst>
            <pc:docMk/>
            <pc:sldMk cId="3953902710" sldId="288"/>
            <ac:spMk id="2" creationId="{E371B5C3-BBD7-2A92-3CF7-D71979F6AA70}"/>
          </ac:spMkLst>
        </pc:spChg>
        <pc:spChg chg="mod">
          <ac:chgData name="Lim, Sharon" userId="9ed40bdc-079d-4cee-a990-4411351f7f9c" providerId="ADAL" clId="{DD93C774-82BE-4DBD-AB5E-BA44CCD0E829}" dt="2023-08-31T06:29:16.958" v="5765" actId="27636"/>
          <ac:spMkLst>
            <pc:docMk/>
            <pc:sldMk cId="3953902710" sldId="288"/>
            <ac:spMk id="3" creationId="{19202440-BBCC-D71C-7826-E0FF70E75D29}"/>
          </ac:spMkLst>
        </pc:spChg>
        <pc:spChg chg="add del mod modVis">
          <ac:chgData name="Lim, Sharon" userId="9ed40bdc-079d-4cee-a990-4411351f7f9c" providerId="ADAL" clId="{DD93C774-82BE-4DBD-AB5E-BA44CCD0E829}" dt="2023-08-31T05:59:00.737" v="3932"/>
          <ac:spMkLst>
            <pc:docMk/>
            <pc:sldMk cId="3953902710" sldId="288"/>
            <ac:spMk id="4" creationId="{2DDA494B-9646-43DF-EB08-037575602863}"/>
          </ac:spMkLst>
        </pc:spChg>
        <pc:graphicFrameChg chg="mod">
          <ac:chgData name="Lim, Sharon" userId="9ed40bdc-079d-4cee-a990-4411351f7f9c" providerId="ADAL" clId="{DD93C774-82BE-4DBD-AB5E-BA44CCD0E829}" dt="2023-08-31T05:59:00.743" v="3934"/>
          <ac:graphicFrameMkLst>
            <pc:docMk/>
            <pc:sldMk cId="3953902710" sldId="288"/>
            <ac:graphicFrameMk id="5" creationId="{7BFFA62B-8410-FE95-0CC2-25B1825F08EF}"/>
          </ac:graphicFrameMkLst>
        </pc:graphicFrameChg>
      </pc:sldChg>
      <pc:sldChg chg="addSp delSp modSp add mod ord">
        <pc:chgData name="Lim, Sharon" userId="9ed40bdc-079d-4cee-a990-4411351f7f9c" providerId="ADAL" clId="{DD93C774-82BE-4DBD-AB5E-BA44CCD0E829}" dt="2023-08-31T06:27:35.992" v="5697"/>
        <pc:sldMkLst>
          <pc:docMk/>
          <pc:sldMk cId="3431125199" sldId="289"/>
        </pc:sldMkLst>
        <pc:spChg chg="mod">
          <ac:chgData name="Lim, Sharon" userId="9ed40bdc-079d-4cee-a990-4411351f7f9c" providerId="ADAL" clId="{DD93C774-82BE-4DBD-AB5E-BA44CCD0E829}" dt="2023-08-31T06:27:35.900" v="5672" actId="948"/>
          <ac:spMkLst>
            <pc:docMk/>
            <pc:sldMk cId="3431125199" sldId="289"/>
            <ac:spMk id="2" creationId="{E371B5C3-BBD7-2A92-3CF7-D71979F6AA70}"/>
          </ac:spMkLst>
        </pc:spChg>
        <pc:spChg chg="mod">
          <ac:chgData name="Lim, Sharon" userId="9ed40bdc-079d-4cee-a990-4411351f7f9c" providerId="ADAL" clId="{DD93C774-82BE-4DBD-AB5E-BA44CCD0E829}" dt="2023-08-31T06:14:36.764" v="4564" actId="20577"/>
          <ac:spMkLst>
            <pc:docMk/>
            <pc:sldMk cId="3431125199" sldId="289"/>
            <ac:spMk id="3" creationId="{19202440-BBCC-D71C-7826-E0FF70E75D29}"/>
          </ac:spMkLst>
        </pc:spChg>
        <pc:spChg chg="add del mod modVis">
          <ac:chgData name="Lim, Sharon" userId="9ed40bdc-079d-4cee-a990-4411351f7f9c" providerId="ADAL" clId="{DD93C774-82BE-4DBD-AB5E-BA44CCD0E829}" dt="2023-08-31T06:09:51.045" v="4198"/>
          <ac:spMkLst>
            <pc:docMk/>
            <pc:sldMk cId="3431125199" sldId="289"/>
            <ac:spMk id="4" creationId="{547456F5-3EFE-AD38-3B25-BDB53E5F8176}"/>
          </ac:spMkLst>
        </pc:spChg>
        <pc:spChg chg="add del mod modVis">
          <ac:chgData name="Lim, Sharon" userId="9ed40bdc-079d-4cee-a990-4411351f7f9c" providerId="ADAL" clId="{DD93C774-82BE-4DBD-AB5E-BA44CCD0E829}" dt="2023-08-31T06:17:26.831" v="4607"/>
          <ac:spMkLst>
            <pc:docMk/>
            <pc:sldMk cId="3431125199" sldId="289"/>
            <ac:spMk id="6" creationId="{C47365A0-C401-E602-595D-B6A1BC6898B4}"/>
          </ac:spMkLst>
        </pc:spChg>
        <pc:spChg chg="add del mod modVis">
          <ac:chgData name="Lim, Sharon" userId="9ed40bdc-079d-4cee-a990-4411351f7f9c" providerId="ADAL" clId="{DD93C774-82BE-4DBD-AB5E-BA44CCD0E829}" dt="2023-08-31T06:17:29.188" v="4642"/>
          <ac:spMkLst>
            <pc:docMk/>
            <pc:sldMk cId="3431125199" sldId="289"/>
            <ac:spMk id="7" creationId="{2160ED04-880D-7EC9-590B-53EA1FBE0BF4}"/>
          </ac:spMkLst>
        </pc:spChg>
        <pc:spChg chg="add del mod modVis">
          <ac:chgData name="Lim, Sharon" userId="9ed40bdc-079d-4cee-a990-4411351f7f9c" providerId="ADAL" clId="{DD93C774-82BE-4DBD-AB5E-BA44CCD0E829}" dt="2023-08-31T06:17:32.743" v="4691"/>
          <ac:spMkLst>
            <pc:docMk/>
            <pc:sldMk cId="3431125199" sldId="289"/>
            <ac:spMk id="8" creationId="{E727ADF7-6139-65A2-0392-E609673BA3D2}"/>
          </ac:spMkLst>
        </pc:spChg>
        <pc:spChg chg="add del mod modVis">
          <ac:chgData name="Lim, Sharon" userId="9ed40bdc-079d-4cee-a990-4411351f7f9c" providerId="ADAL" clId="{DD93C774-82BE-4DBD-AB5E-BA44CCD0E829}" dt="2023-08-31T06:17:33.956" v="4720"/>
          <ac:spMkLst>
            <pc:docMk/>
            <pc:sldMk cId="3431125199" sldId="289"/>
            <ac:spMk id="9" creationId="{EB65D704-FB50-2DF5-B9C9-178125265100}"/>
          </ac:spMkLst>
        </pc:spChg>
        <pc:spChg chg="add del mod modVis">
          <ac:chgData name="Lim, Sharon" userId="9ed40bdc-079d-4cee-a990-4411351f7f9c" providerId="ADAL" clId="{DD93C774-82BE-4DBD-AB5E-BA44CCD0E829}" dt="2023-08-31T06:27:35.982" v="5695"/>
          <ac:spMkLst>
            <pc:docMk/>
            <pc:sldMk cId="3431125199" sldId="289"/>
            <ac:spMk id="10" creationId="{97390AB2-CA87-F333-E2B4-FF0380CAFFC7}"/>
          </ac:spMkLst>
        </pc:spChg>
        <pc:graphicFrameChg chg="mod">
          <ac:chgData name="Lim, Sharon" userId="9ed40bdc-079d-4cee-a990-4411351f7f9c" providerId="ADAL" clId="{DD93C774-82BE-4DBD-AB5E-BA44CCD0E829}" dt="2023-08-31T06:27:35.992" v="5697"/>
          <ac:graphicFrameMkLst>
            <pc:docMk/>
            <pc:sldMk cId="3431125199" sldId="289"/>
            <ac:graphicFrameMk id="5" creationId="{7BFFA62B-8410-FE95-0CC2-25B1825F08EF}"/>
          </ac:graphicFrameMkLst>
        </pc:graphicFrameChg>
      </pc:sldChg>
      <pc:sldChg chg="addSp delSp modSp add mod">
        <pc:chgData name="Lim, Sharon" userId="9ed40bdc-079d-4cee-a990-4411351f7f9c" providerId="ADAL" clId="{DD93C774-82BE-4DBD-AB5E-BA44CCD0E829}" dt="2023-08-31T06:31:58.302" v="5781"/>
        <pc:sldMkLst>
          <pc:docMk/>
          <pc:sldMk cId="104398971" sldId="290"/>
        </pc:sldMkLst>
        <pc:spChg chg="mod">
          <ac:chgData name="Lim, Sharon" userId="9ed40bdc-079d-4cee-a990-4411351f7f9c" providerId="ADAL" clId="{DD93C774-82BE-4DBD-AB5E-BA44CCD0E829}" dt="2023-08-31T06:31:58.290" v="5777" actId="948"/>
          <ac:spMkLst>
            <pc:docMk/>
            <pc:sldMk cId="104398971" sldId="290"/>
            <ac:spMk id="2" creationId="{0242C7D5-2986-B5ED-D34E-E894878277D3}"/>
          </ac:spMkLst>
        </pc:spChg>
        <pc:spChg chg="add mod">
          <ac:chgData name="Lim, Sharon" userId="9ed40bdc-079d-4cee-a990-4411351f7f9c" providerId="ADAL" clId="{DD93C774-82BE-4DBD-AB5E-BA44CCD0E829}" dt="2023-08-31T06:31:54.676" v="5768" actId="478"/>
          <ac:spMkLst>
            <pc:docMk/>
            <pc:sldMk cId="104398971" sldId="290"/>
            <ac:spMk id="6" creationId="{B17110FA-AF75-1537-EA9D-6A5A0DE30680}"/>
          </ac:spMkLst>
        </pc:spChg>
        <pc:graphicFrameChg chg="mod">
          <ac:chgData name="Lim, Sharon" userId="9ed40bdc-079d-4cee-a990-4411351f7f9c" providerId="ADAL" clId="{DD93C774-82BE-4DBD-AB5E-BA44CCD0E829}" dt="2023-08-31T06:31:58.302" v="5781"/>
          <ac:graphicFrameMkLst>
            <pc:docMk/>
            <pc:sldMk cId="104398971" sldId="290"/>
            <ac:graphicFrameMk id="4" creationId="{D1B84F5D-2E84-67DB-C70F-370ADA0A6A5E}"/>
          </ac:graphicFrameMkLst>
        </pc:graphicFrameChg>
        <pc:picChg chg="del">
          <ac:chgData name="Lim, Sharon" userId="9ed40bdc-079d-4cee-a990-4411351f7f9c" providerId="ADAL" clId="{DD93C774-82BE-4DBD-AB5E-BA44CCD0E829}" dt="2023-08-31T06:31:54.676" v="5768" actId="478"/>
          <ac:picMkLst>
            <pc:docMk/>
            <pc:sldMk cId="104398971" sldId="290"/>
            <ac:picMk id="5" creationId="{76507ACF-EE59-04D4-509B-CB6401DFEC43}"/>
          </ac:picMkLst>
        </pc:picChg>
      </pc:sldChg>
      <pc:sldChg chg="add del">
        <pc:chgData name="Lim, Sharon" userId="9ed40bdc-079d-4cee-a990-4411351f7f9c" providerId="ADAL" clId="{DD93C774-82BE-4DBD-AB5E-BA44CCD0E829}" dt="2023-08-31T06:32:16.545" v="5789"/>
        <pc:sldMkLst>
          <pc:docMk/>
          <pc:sldMk cId="445162447" sldId="291"/>
        </pc:sldMkLst>
      </pc:sldChg>
      <pc:sldChg chg="addSp delSp modSp new add mod">
        <pc:chgData name="Lim, Sharon" userId="9ed40bdc-079d-4cee-a990-4411351f7f9c" providerId="ADAL" clId="{DD93C774-82BE-4DBD-AB5E-BA44CCD0E829}" dt="2023-08-31T06:32:29.208" v="5811" actId="1076"/>
        <pc:sldMkLst>
          <pc:docMk/>
          <pc:sldMk cId="1780267266" sldId="291"/>
        </pc:sldMkLst>
        <pc:spChg chg="del">
          <ac:chgData name="Lim, Sharon" userId="9ed40bdc-079d-4cee-a990-4411351f7f9c" providerId="ADAL" clId="{DD93C774-82BE-4DBD-AB5E-BA44CCD0E829}" dt="2023-08-31T06:32:25.770" v="5793" actId="478"/>
          <ac:spMkLst>
            <pc:docMk/>
            <pc:sldMk cId="1780267266" sldId="291"/>
            <ac:spMk id="2" creationId="{CA05EB3B-9C0F-F17D-3A6D-7BCCBBF59362}"/>
          </ac:spMkLst>
        </pc:spChg>
        <pc:spChg chg="add mod">
          <ac:chgData name="Lim, Sharon" userId="9ed40bdc-079d-4cee-a990-4411351f7f9c" providerId="ADAL" clId="{DD93C774-82BE-4DBD-AB5E-BA44CCD0E829}" dt="2023-08-31T06:32:29.208" v="5811" actId="1076"/>
          <ac:spMkLst>
            <pc:docMk/>
            <pc:sldMk cId="1780267266" sldId="291"/>
            <ac:spMk id="4" creationId="{F248D9AB-6A03-9C50-3FF5-0FE9EF1A73DC}"/>
          </ac:spMkLst>
        </pc:spChg>
        <pc:graphicFrameChg chg="add mod ord modVis replST">
          <ac:chgData name="Lim, Sharon" userId="9ed40bdc-079d-4cee-a990-4411351f7f9c" providerId="ADAL" clId="{DD93C774-82BE-4DBD-AB5E-BA44CCD0E829}" dt="2023-08-31T06:32:26.361" v="5810"/>
          <ac:graphicFrameMkLst>
            <pc:docMk/>
            <pc:sldMk cId="1780267266" sldId="291"/>
            <ac:graphicFrameMk id="5" creationId="{09486A88-8493-47B6-BB73-CB4C274BB954}"/>
          </ac:graphicFrameMkLst>
        </pc:graphicFrameChg>
      </pc:sldChg>
      <pc:sldChg chg="add del">
        <pc:chgData name="Lim, Sharon" userId="9ed40bdc-079d-4cee-a990-4411351f7f9c" providerId="ADAL" clId="{DD93C774-82BE-4DBD-AB5E-BA44CCD0E829}" dt="2023-08-31T06:32:12.220" v="5787"/>
        <pc:sldMkLst>
          <pc:docMk/>
          <pc:sldMk cId="4280841532" sldId="291"/>
        </pc:sldMkLst>
      </pc:sldChg>
      <pc:sldChg chg="add del">
        <pc:chgData name="Lim, Sharon" userId="9ed40bdc-079d-4cee-a990-4411351f7f9c" providerId="ADAL" clId="{DD93C774-82BE-4DBD-AB5E-BA44CCD0E829}" dt="2023-08-31T06:32:11.483" v="5786"/>
        <pc:sldMkLst>
          <pc:docMk/>
          <pc:sldMk cId="1670351739" sldId="292"/>
        </pc:sldMkLst>
      </pc:sldChg>
      <pc:sldChg chg="addSp delSp modSp add mod">
        <pc:chgData name="Lim, Sharon" userId="9ed40bdc-079d-4cee-a990-4411351f7f9c" providerId="ADAL" clId="{DD93C774-82BE-4DBD-AB5E-BA44CCD0E829}" dt="2023-08-31T06:43:33.658" v="5943" actId="1076"/>
        <pc:sldMkLst>
          <pc:docMk/>
          <pc:sldMk cId="3997863375" sldId="292"/>
        </pc:sldMkLst>
        <pc:spChg chg="del">
          <ac:chgData name="Lim, Sharon" userId="9ed40bdc-079d-4cee-a990-4411351f7f9c" providerId="ADAL" clId="{DD93C774-82BE-4DBD-AB5E-BA44CCD0E829}" dt="2023-08-31T06:40:02.842" v="5859" actId="478"/>
          <ac:spMkLst>
            <pc:docMk/>
            <pc:sldMk cId="3997863375" sldId="292"/>
            <ac:spMk id="3" creationId="{7467A666-1D86-3A83-1AD0-BC7FE7914A57}"/>
          </ac:spMkLst>
        </pc:spChg>
        <pc:spChg chg="mod">
          <ac:chgData name="Lim, Sharon" userId="9ed40bdc-079d-4cee-a990-4411351f7f9c" providerId="ADAL" clId="{DD93C774-82BE-4DBD-AB5E-BA44CCD0E829}" dt="2023-08-31T06:43:30.730" v="5942" actId="20577"/>
          <ac:spMkLst>
            <pc:docMk/>
            <pc:sldMk cId="3997863375" sldId="292"/>
            <ac:spMk id="4" creationId="{F248D9AB-6A03-9C50-3FF5-0FE9EF1A73DC}"/>
          </ac:spMkLst>
        </pc:spChg>
        <pc:picChg chg="add del mod">
          <ac:chgData name="Lim, Sharon" userId="9ed40bdc-079d-4cee-a990-4411351f7f9c" providerId="ADAL" clId="{DD93C774-82BE-4DBD-AB5E-BA44CCD0E829}" dt="2023-08-31T06:42:23.489" v="5873" actId="478"/>
          <ac:picMkLst>
            <pc:docMk/>
            <pc:sldMk cId="3997863375" sldId="292"/>
            <ac:picMk id="6" creationId="{8C8EE3B7-FC03-9573-1AAA-94320A152C36}"/>
          </ac:picMkLst>
        </pc:picChg>
        <pc:picChg chg="add del mod">
          <ac:chgData name="Lim, Sharon" userId="9ed40bdc-079d-4cee-a990-4411351f7f9c" providerId="ADAL" clId="{DD93C774-82BE-4DBD-AB5E-BA44CCD0E829}" dt="2023-08-31T06:41:20.173" v="5869"/>
          <ac:picMkLst>
            <pc:docMk/>
            <pc:sldMk cId="3997863375" sldId="292"/>
            <ac:picMk id="7" creationId="{34C15FFD-7096-CF96-97E2-C78F36C7EE75}"/>
          </ac:picMkLst>
        </pc:picChg>
        <pc:picChg chg="add del mod">
          <ac:chgData name="Lim, Sharon" userId="9ed40bdc-079d-4cee-a990-4411351f7f9c" providerId="ADAL" clId="{DD93C774-82BE-4DBD-AB5E-BA44CCD0E829}" dt="2023-08-31T06:43:12.904" v="5881" actId="478"/>
          <ac:picMkLst>
            <pc:docMk/>
            <pc:sldMk cId="3997863375" sldId="292"/>
            <ac:picMk id="9" creationId="{7C337DF0-190D-F4AD-9727-5D853E89604B}"/>
          </ac:picMkLst>
        </pc:picChg>
        <pc:picChg chg="add mod">
          <ac:chgData name="Lim, Sharon" userId="9ed40bdc-079d-4cee-a990-4411351f7f9c" providerId="ADAL" clId="{DD93C774-82BE-4DBD-AB5E-BA44CCD0E829}" dt="2023-08-31T06:43:33.658" v="5943" actId="1076"/>
          <ac:picMkLst>
            <pc:docMk/>
            <pc:sldMk cId="3997863375" sldId="292"/>
            <ac:picMk id="11" creationId="{7063CDC8-C394-B458-9303-8485E74E843B}"/>
          </ac:picMkLst>
        </pc:picChg>
      </pc:sldChg>
      <pc:sldChg chg="addSp delSp modSp add mod">
        <pc:chgData name="Lim, Sharon" userId="9ed40bdc-079d-4cee-a990-4411351f7f9c" providerId="ADAL" clId="{DD93C774-82BE-4DBD-AB5E-BA44CCD0E829}" dt="2023-08-31T06:45:09.057" v="6063" actId="1076"/>
        <pc:sldMkLst>
          <pc:docMk/>
          <pc:sldMk cId="3038295830" sldId="293"/>
        </pc:sldMkLst>
        <pc:spChg chg="del">
          <ac:chgData name="Lim, Sharon" userId="9ed40bdc-079d-4cee-a990-4411351f7f9c" providerId="ADAL" clId="{DD93C774-82BE-4DBD-AB5E-BA44CCD0E829}" dt="2023-08-31T06:43:56.296" v="6044" actId="478"/>
          <ac:spMkLst>
            <pc:docMk/>
            <pc:sldMk cId="3038295830" sldId="293"/>
            <ac:spMk id="3" creationId="{7467A666-1D86-3A83-1AD0-BC7FE7914A57}"/>
          </ac:spMkLst>
        </pc:spChg>
        <pc:spChg chg="mod">
          <ac:chgData name="Lim, Sharon" userId="9ed40bdc-079d-4cee-a990-4411351f7f9c" providerId="ADAL" clId="{DD93C774-82BE-4DBD-AB5E-BA44CCD0E829}" dt="2023-08-31T06:44:04.187" v="6059" actId="20577"/>
          <ac:spMkLst>
            <pc:docMk/>
            <pc:sldMk cId="3038295830" sldId="293"/>
            <ac:spMk id="4" creationId="{F248D9AB-6A03-9C50-3FF5-0FE9EF1A73DC}"/>
          </ac:spMkLst>
        </pc:spChg>
        <pc:picChg chg="add del">
          <ac:chgData name="Lim, Sharon" userId="9ed40bdc-079d-4cee-a990-4411351f7f9c" providerId="ADAL" clId="{DD93C774-82BE-4DBD-AB5E-BA44CCD0E829}" dt="2023-08-31T06:42:20.902" v="5872" actId="22"/>
          <ac:picMkLst>
            <pc:docMk/>
            <pc:sldMk cId="3038295830" sldId="293"/>
            <ac:picMk id="6" creationId="{84CC1419-87CF-9D15-E17E-2B4CD34B77DE}"/>
          </ac:picMkLst>
        </pc:picChg>
        <pc:picChg chg="add del mod">
          <ac:chgData name="Lim, Sharon" userId="9ed40bdc-079d-4cee-a990-4411351f7f9c" providerId="ADAL" clId="{DD93C774-82BE-4DBD-AB5E-BA44CCD0E829}" dt="2023-08-31T06:41:20.662" v="5870"/>
          <ac:picMkLst>
            <pc:docMk/>
            <pc:sldMk cId="3038295830" sldId="293"/>
            <ac:picMk id="7" creationId="{46051758-3200-0484-21CB-3A5F7A59928E}"/>
          </ac:picMkLst>
        </pc:picChg>
        <pc:picChg chg="add mod">
          <ac:chgData name="Lim, Sharon" userId="9ed40bdc-079d-4cee-a990-4411351f7f9c" providerId="ADAL" clId="{DD93C774-82BE-4DBD-AB5E-BA44CCD0E829}" dt="2023-08-31T06:45:09.057" v="6063" actId="1076"/>
          <ac:picMkLst>
            <pc:docMk/>
            <pc:sldMk cId="3038295830" sldId="293"/>
            <ac:picMk id="9" creationId="{E4F92AA4-0376-3323-F7BA-8DEBE966A496}"/>
          </ac:picMkLst>
        </pc:picChg>
      </pc:sldChg>
      <pc:sldChg chg="modSp add mod">
        <pc:chgData name="Lim, Sharon" userId="9ed40bdc-079d-4cee-a990-4411351f7f9c" providerId="ADAL" clId="{DD93C774-82BE-4DBD-AB5E-BA44CCD0E829}" dt="2023-08-31T06:50:35.245" v="6233" actId="27636"/>
        <pc:sldMkLst>
          <pc:docMk/>
          <pc:sldMk cId="3767169171" sldId="294"/>
        </pc:sldMkLst>
        <pc:spChg chg="mod">
          <ac:chgData name="Lim, Sharon" userId="9ed40bdc-079d-4cee-a990-4411351f7f9c" providerId="ADAL" clId="{DD93C774-82BE-4DBD-AB5E-BA44CCD0E829}" dt="2023-08-31T06:50:35.245" v="6233" actId="27636"/>
          <ac:spMkLst>
            <pc:docMk/>
            <pc:sldMk cId="3767169171" sldId="294"/>
            <ac:spMk id="3" creationId="{7467A666-1D86-3A83-1AD0-BC7FE7914A57}"/>
          </ac:spMkLst>
        </pc:spChg>
        <pc:spChg chg="mod">
          <ac:chgData name="Lim, Sharon" userId="9ed40bdc-079d-4cee-a990-4411351f7f9c" providerId="ADAL" clId="{DD93C774-82BE-4DBD-AB5E-BA44CCD0E829}" dt="2023-08-31T06:48:37.825" v="6163" actId="20577"/>
          <ac:spMkLst>
            <pc:docMk/>
            <pc:sldMk cId="3767169171" sldId="294"/>
            <ac:spMk id="4" creationId="{F248D9AB-6A03-9C50-3FF5-0FE9EF1A73DC}"/>
          </ac:spMkLst>
        </pc:spChg>
      </pc:sldChg>
      <pc:sldChg chg="addSp delSp modSp add mod">
        <pc:chgData name="Lim, Sharon" userId="9ed40bdc-079d-4cee-a990-4411351f7f9c" providerId="ADAL" clId="{DD93C774-82BE-4DBD-AB5E-BA44CCD0E829}" dt="2023-08-31T06:53:35.322" v="6417" actId="1076"/>
        <pc:sldMkLst>
          <pc:docMk/>
          <pc:sldMk cId="152117277" sldId="295"/>
        </pc:sldMkLst>
        <pc:spChg chg="del">
          <ac:chgData name="Lim, Sharon" userId="9ed40bdc-079d-4cee-a990-4411351f7f9c" providerId="ADAL" clId="{DD93C774-82BE-4DBD-AB5E-BA44CCD0E829}" dt="2023-08-31T06:53:32.951" v="6414" actId="478"/>
          <ac:spMkLst>
            <pc:docMk/>
            <pc:sldMk cId="152117277" sldId="295"/>
            <ac:spMk id="3" creationId="{7467A666-1D86-3A83-1AD0-BC7FE7914A57}"/>
          </ac:spMkLst>
        </pc:spChg>
        <pc:spChg chg="mod">
          <ac:chgData name="Lim, Sharon" userId="9ed40bdc-079d-4cee-a990-4411351f7f9c" providerId="ADAL" clId="{DD93C774-82BE-4DBD-AB5E-BA44CCD0E829}" dt="2023-08-31T06:52:31.072" v="6413" actId="20577"/>
          <ac:spMkLst>
            <pc:docMk/>
            <pc:sldMk cId="152117277" sldId="295"/>
            <ac:spMk id="4" creationId="{F248D9AB-6A03-9C50-3FF5-0FE9EF1A73DC}"/>
          </ac:spMkLst>
        </pc:spChg>
        <pc:picChg chg="add mod">
          <ac:chgData name="Lim, Sharon" userId="9ed40bdc-079d-4cee-a990-4411351f7f9c" providerId="ADAL" clId="{DD93C774-82BE-4DBD-AB5E-BA44CCD0E829}" dt="2023-08-31T06:53:35.322" v="6417" actId="1076"/>
          <ac:picMkLst>
            <pc:docMk/>
            <pc:sldMk cId="152117277" sldId="295"/>
            <ac:picMk id="6" creationId="{BF5379D2-39AF-CAE3-DF3B-ABCB49B8B42D}"/>
          </ac:picMkLst>
        </pc:picChg>
      </pc:sldChg>
      <pc:sldChg chg="addSp delSp modSp add mod">
        <pc:chgData name="Lim, Sharon" userId="9ed40bdc-079d-4cee-a990-4411351f7f9c" providerId="ADAL" clId="{DD93C774-82BE-4DBD-AB5E-BA44CCD0E829}" dt="2023-08-31T06:45:51.788" v="6073" actId="14100"/>
        <pc:sldMkLst>
          <pc:docMk/>
          <pc:sldMk cId="3395734009" sldId="297"/>
        </pc:sldMkLst>
        <pc:spChg chg="mod">
          <ac:chgData name="Lim, Sharon" userId="9ed40bdc-079d-4cee-a990-4411351f7f9c" providerId="ADAL" clId="{DD93C774-82BE-4DBD-AB5E-BA44CCD0E829}" dt="2023-08-31T06:45:23.904" v="6068" actId="20577"/>
          <ac:spMkLst>
            <pc:docMk/>
            <pc:sldMk cId="3395734009" sldId="297"/>
            <ac:spMk id="4" creationId="{F248D9AB-6A03-9C50-3FF5-0FE9EF1A73DC}"/>
          </ac:spMkLst>
        </pc:spChg>
        <pc:picChg chg="add mod">
          <ac:chgData name="Lim, Sharon" userId="9ed40bdc-079d-4cee-a990-4411351f7f9c" providerId="ADAL" clId="{DD93C774-82BE-4DBD-AB5E-BA44CCD0E829}" dt="2023-08-31T06:45:51.788" v="6073" actId="14100"/>
          <ac:picMkLst>
            <pc:docMk/>
            <pc:sldMk cId="3395734009" sldId="297"/>
            <ac:picMk id="3" creationId="{91C6200C-07ED-B409-C11F-B8B8F1309C00}"/>
          </ac:picMkLst>
        </pc:picChg>
        <pc:picChg chg="del">
          <ac:chgData name="Lim, Sharon" userId="9ed40bdc-079d-4cee-a990-4411351f7f9c" providerId="ADAL" clId="{DD93C774-82BE-4DBD-AB5E-BA44CCD0E829}" dt="2023-08-31T06:45:20.160" v="6065" actId="478"/>
          <ac:picMkLst>
            <pc:docMk/>
            <pc:sldMk cId="3395734009" sldId="297"/>
            <ac:picMk id="9" creationId="{E4F92AA4-0376-3323-F7BA-8DEBE966A496}"/>
          </ac:picMkLst>
        </pc:picChg>
      </pc:sldChg>
      <pc:sldChg chg="add del">
        <pc:chgData name="Lim, Sharon" userId="9ed40bdc-079d-4cee-a990-4411351f7f9c" providerId="ADAL" clId="{DD93C774-82BE-4DBD-AB5E-BA44CCD0E829}" dt="2023-08-31T06:54:02.053" v="6418" actId="47"/>
        <pc:sldMkLst>
          <pc:docMk/>
          <pc:sldMk cId="937581323" sldId="299"/>
        </pc:sldMkLst>
      </pc:sldChg>
      <pc:sldChg chg="modSp add mod">
        <pc:chgData name="Lim, Sharon" userId="9ed40bdc-079d-4cee-a990-4411351f7f9c" providerId="ADAL" clId="{DD93C774-82BE-4DBD-AB5E-BA44CCD0E829}" dt="2023-08-31T06:52:10.799" v="6327" actId="207"/>
        <pc:sldMkLst>
          <pc:docMk/>
          <pc:sldMk cId="1581890655" sldId="300"/>
        </pc:sldMkLst>
        <pc:spChg chg="mod">
          <ac:chgData name="Lim, Sharon" userId="9ed40bdc-079d-4cee-a990-4411351f7f9c" providerId="ADAL" clId="{DD93C774-82BE-4DBD-AB5E-BA44CCD0E829}" dt="2023-08-31T06:52:10.799" v="6327" actId="207"/>
          <ac:spMkLst>
            <pc:docMk/>
            <pc:sldMk cId="1581890655" sldId="300"/>
            <ac:spMk id="3" creationId="{7467A666-1D86-3A83-1AD0-BC7FE7914A57}"/>
          </ac:spMkLst>
        </pc:spChg>
        <pc:spChg chg="mod">
          <ac:chgData name="Lim, Sharon" userId="9ed40bdc-079d-4cee-a990-4411351f7f9c" providerId="ADAL" clId="{DD93C774-82BE-4DBD-AB5E-BA44CCD0E829}" dt="2023-08-31T06:51:00.241" v="6259" actId="20577"/>
          <ac:spMkLst>
            <pc:docMk/>
            <pc:sldMk cId="1581890655" sldId="300"/>
            <ac:spMk id="4" creationId="{F248D9AB-6A03-9C50-3FF5-0FE9EF1A73DC}"/>
          </ac:spMkLst>
        </pc:spChg>
      </pc:sldChg>
      <pc:sldChg chg="addSp modSp mod">
        <pc:chgData name="Lim, Sharon" userId="9ed40bdc-079d-4cee-a990-4411351f7f9c" providerId="ADAL" clId="{DD93C774-82BE-4DBD-AB5E-BA44CCD0E829}" dt="2023-08-31T06:57:27.482" v="6473"/>
        <pc:sldMkLst>
          <pc:docMk/>
          <pc:sldMk cId="1656821240" sldId="305"/>
        </pc:sldMkLst>
        <pc:graphicFrameChg chg="add mod ord modVis replST">
          <ac:chgData name="Lim, Sharon" userId="9ed40bdc-079d-4cee-a990-4411351f7f9c" providerId="ADAL" clId="{DD93C774-82BE-4DBD-AB5E-BA44CCD0E829}" dt="2023-08-31T06:57:27.482" v="6473"/>
          <ac:graphicFrameMkLst>
            <pc:docMk/>
            <pc:sldMk cId="1656821240" sldId="305"/>
            <ac:graphicFrameMk id="5" creationId="{53A6E68E-140D-18AB-9921-ECA08E14FBD1}"/>
          </ac:graphicFrameMkLst>
        </pc:graphicFrameChg>
      </pc:sldChg>
      <pc:sldChg chg="modSp mod">
        <pc:chgData name="Lim, Sharon" userId="9ed40bdc-079d-4cee-a990-4411351f7f9c" providerId="ADAL" clId="{DD93C774-82BE-4DBD-AB5E-BA44CCD0E829}" dt="2023-08-31T09:09:54.131" v="26843" actId="14100"/>
        <pc:sldMkLst>
          <pc:docMk/>
          <pc:sldMk cId="1617934547" sldId="306"/>
        </pc:sldMkLst>
        <pc:picChg chg="mod">
          <ac:chgData name="Lim, Sharon" userId="9ed40bdc-079d-4cee-a990-4411351f7f9c" providerId="ADAL" clId="{DD93C774-82BE-4DBD-AB5E-BA44CCD0E829}" dt="2023-08-31T09:09:54.131" v="26843" actId="14100"/>
          <ac:picMkLst>
            <pc:docMk/>
            <pc:sldMk cId="1617934547" sldId="306"/>
            <ac:picMk id="7" creationId="{BC7562DB-92CB-9642-A8C4-3B34B1DDF3E3}"/>
          </ac:picMkLst>
        </pc:picChg>
      </pc:sldChg>
      <pc:sldChg chg="add del">
        <pc:chgData name="Lim, Sharon" userId="9ed40bdc-079d-4cee-a990-4411351f7f9c" providerId="ADAL" clId="{DD93C774-82BE-4DBD-AB5E-BA44CCD0E829}" dt="2023-08-31T07:54:20.148" v="6675"/>
        <pc:sldMkLst>
          <pc:docMk/>
          <pc:sldMk cId="1254675868" sldId="308"/>
        </pc:sldMkLst>
      </pc:sldChg>
      <pc:sldChg chg="addSp delSp modSp add mod ord">
        <pc:chgData name="Lim, Sharon" userId="9ed40bdc-079d-4cee-a990-4411351f7f9c" providerId="ADAL" clId="{DD93C774-82BE-4DBD-AB5E-BA44CCD0E829}" dt="2023-09-01T02:40:07.777" v="66348" actId="20577"/>
        <pc:sldMkLst>
          <pc:docMk/>
          <pc:sldMk cId="3916558037" sldId="308"/>
        </pc:sldMkLst>
        <pc:spChg chg="del">
          <ac:chgData name="Lim, Sharon" userId="9ed40bdc-079d-4cee-a990-4411351f7f9c" providerId="ADAL" clId="{DD93C774-82BE-4DBD-AB5E-BA44CCD0E829}" dt="2023-08-31T07:54:24.943" v="6680" actId="478"/>
          <ac:spMkLst>
            <pc:docMk/>
            <pc:sldMk cId="3916558037" sldId="308"/>
            <ac:spMk id="2" creationId="{E371B5C3-BBD7-2A92-3CF7-D71979F6AA70}"/>
          </ac:spMkLst>
        </pc:spChg>
        <pc:spChg chg="del">
          <ac:chgData name="Lim, Sharon" userId="9ed40bdc-079d-4cee-a990-4411351f7f9c" providerId="ADAL" clId="{DD93C774-82BE-4DBD-AB5E-BA44CCD0E829}" dt="2023-08-31T07:54:23.750" v="6679" actId="478"/>
          <ac:spMkLst>
            <pc:docMk/>
            <pc:sldMk cId="3916558037" sldId="308"/>
            <ac:spMk id="3" creationId="{19202440-BBCC-D71C-7826-E0FF70E75D29}"/>
          </ac:spMkLst>
        </pc:spChg>
        <pc:spChg chg="add del mod">
          <ac:chgData name="Lim, Sharon" userId="9ed40bdc-079d-4cee-a990-4411351f7f9c" providerId="ADAL" clId="{DD93C774-82BE-4DBD-AB5E-BA44CCD0E829}" dt="2023-08-31T07:54:26.483" v="6690" actId="478"/>
          <ac:spMkLst>
            <pc:docMk/>
            <pc:sldMk cId="3916558037" sldId="308"/>
            <ac:spMk id="6" creationId="{E97477A1-BE18-3474-03D8-A959A2CA5F2D}"/>
          </ac:spMkLst>
        </pc:spChg>
        <pc:spChg chg="add del mod">
          <ac:chgData name="Lim, Sharon" userId="9ed40bdc-079d-4cee-a990-4411351f7f9c" providerId="ADAL" clId="{DD93C774-82BE-4DBD-AB5E-BA44CCD0E829}" dt="2023-08-31T07:54:25.739" v="6685" actId="478"/>
          <ac:spMkLst>
            <pc:docMk/>
            <pc:sldMk cId="3916558037" sldId="308"/>
            <ac:spMk id="8" creationId="{BDEA8D22-39B6-138F-B084-D2D1F12966BA}"/>
          </ac:spMkLst>
        </pc:spChg>
        <pc:spChg chg="add mod">
          <ac:chgData name="Lim, Sharon" userId="9ed40bdc-079d-4cee-a990-4411351f7f9c" providerId="ADAL" clId="{DD93C774-82BE-4DBD-AB5E-BA44CCD0E829}" dt="2023-08-31T08:49:35.842" v="9357" actId="948"/>
          <ac:spMkLst>
            <pc:docMk/>
            <pc:sldMk cId="3916558037" sldId="308"/>
            <ac:spMk id="9" creationId="{70389CF2-9847-4CA5-C5BE-B39689FC3CB7}"/>
          </ac:spMkLst>
        </pc:spChg>
        <pc:spChg chg="add del mod">
          <ac:chgData name="Lim, Sharon" userId="9ed40bdc-079d-4cee-a990-4411351f7f9c" providerId="ADAL" clId="{DD93C774-82BE-4DBD-AB5E-BA44CCD0E829}" dt="2023-08-31T08:02:06.375" v="7570" actId="478"/>
          <ac:spMkLst>
            <pc:docMk/>
            <pc:sldMk cId="3916558037" sldId="308"/>
            <ac:spMk id="10" creationId="{0185EF87-3114-C685-9792-FDFBDD82F2CD}"/>
          </ac:spMkLst>
        </pc:spChg>
        <pc:spChg chg="add del mod modVis">
          <ac:chgData name="Lim, Sharon" userId="9ed40bdc-079d-4cee-a990-4411351f7f9c" providerId="ADAL" clId="{DD93C774-82BE-4DBD-AB5E-BA44CCD0E829}" dt="2023-08-31T07:56:51.517" v="6837"/>
          <ac:spMkLst>
            <pc:docMk/>
            <pc:sldMk cId="3916558037" sldId="308"/>
            <ac:spMk id="11" creationId="{1693F97B-3313-F628-38B4-87243B9D0EC5}"/>
          </ac:spMkLst>
        </pc:spChg>
        <pc:spChg chg="add del mod modVis">
          <ac:chgData name="Lim, Sharon" userId="9ed40bdc-079d-4cee-a990-4411351f7f9c" providerId="ADAL" clId="{DD93C774-82BE-4DBD-AB5E-BA44CCD0E829}" dt="2023-08-31T07:56:52.830" v="6874"/>
          <ac:spMkLst>
            <pc:docMk/>
            <pc:sldMk cId="3916558037" sldId="308"/>
            <ac:spMk id="12" creationId="{9B4FA036-96ED-B4F4-F9AD-E81B2723C20B}"/>
          </ac:spMkLst>
        </pc:spChg>
        <pc:spChg chg="add del mod modVis">
          <ac:chgData name="Lim, Sharon" userId="9ed40bdc-079d-4cee-a990-4411351f7f9c" providerId="ADAL" clId="{DD93C774-82BE-4DBD-AB5E-BA44CCD0E829}" dt="2023-08-31T07:56:54.857" v="6911"/>
          <ac:spMkLst>
            <pc:docMk/>
            <pc:sldMk cId="3916558037" sldId="308"/>
            <ac:spMk id="13" creationId="{7B0C71DA-881D-35AF-4653-BAEC53D1D7A4}"/>
          </ac:spMkLst>
        </pc:spChg>
        <pc:spChg chg="add del mod modVis">
          <ac:chgData name="Lim, Sharon" userId="9ed40bdc-079d-4cee-a990-4411351f7f9c" providerId="ADAL" clId="{DD93C774-82BE-4DBD-AB5E-BA44CCD0E829}" dt="2023-08-31T07:57:29.460" v="6945"/>
          <ac:spMkLst>
            <pc:docMk/>
            <pc:sldMk cId="3916558037" sldId="308"/>
            <ac:spMk id="14" creationId="{CD9C7F30-9510-89FA-96EC-07A6B3F0F1F5}"/>
          </ac:spMkLst>
        </pc:spChg>
        <pc:spChg chg="add del mod modVis">
          <ac:chgData name="Lim, Sharon" userId="9ed40bdc-079d-4cee-a990-4411351f7f9c" providerId="ADAL" clId="{DD93C774-82BE-4DBD-AB5E-BA44CCD0E829}" dt="2023-08-31T07:58:11.945" v="6990"/>
          <ac:spMkLst>
            <pc:docMk/>
            <pc:sldMk cId="3916558037" sldId="308"/>
            <ac:spMk id="15" creationId="{2DE658EB-7418-1F26-F3EF-FB0B6EF3C02C}"/>
          </ac:spMkLst>
        </pc:spChg>
        <pc:spChg chg="add del mod modVis">
          <ac:chgData name="Lim, Sharon" userId="9ed40bdc-079d-4cee-a990-4411351f7f9c" providerId="ADAL" clId="{DD93C774-82BE-4DBD-AB5E-BA44CCD0E829}" dt="2023-08-31T07:58:14.178" v="7027"/>
          <ac:spMkLst>
            <pc:docMk/>
            <pc:sldMk cId="3916558037" sldId="308"/>
            <ac:spMk id="16" creationId="{7895C064-69E8-3A84-236D-B09DD9AA7728}"/>
          </ac:spMkLst>
        </pc:spChg>
        <pc:spChg chg="add del mod modVis">
          <ac:chgData name="Lim, Sharon" userId="9ed40bdc-079d-4cee-a990-4411351f7f9c" providerId="ADAL" clId="{DD93C774-82BE-4DBD-AB5E-BA44CCD0E829}" dt="2023-08-31T07:58:14.775" v="7054"/>
          <ac:spMkLst>
            <pc:docMk/>
            <pc:sldMk cId="3916558037" sldId="308"/>
            <ac:spMk id="17" creationId="{7EADF1CA-B5E6-4CE6-05FE-A2049C7A6309}"/>
          </ac:spMkLst>
        </pc:spChg>
        <pc:spChg chg="add del mod modVis">
          <ac:chgData name="Lim, Sharon" userId="9ed40bdc-079d-4cee-a990-4411351f7f9c" providerId="ADAL" clId="{DD93C774-82BE-4DBD-AB5E-BA44CCD0E829}" dt="2023-08-31T08:01:30.774" v="7249" actId="962"/>
          <ac:spMkLst>
            <pc:docMk/>
            <pc:sldMk cId="3916558037" sldId="308"/>
            <ac:spMk id="18" creationId="{C21DD4CA-8DC0-DF9B-42D1-9492D1FB0176}"/>
          </ac:spMkLst>
        </pc:spChg>
        <pc:spChg chg="add del mod modVis">
          <ac:chgData name="Lim, Sharon" userId="9ed40bdc-079d-4cee-a990-4411351f7f9c" providerId="ADAL" clId="{DD93C774-82BE-4DBD-AB5E-BA44CCD0E829}" dt="2023-08-31T08:01:30.209" v="7222" actId="962"/>
          <ac:spMkLst>
            <pc:docMk/>
            <pc:sldMk cId="3916558037" sldId="308"/>
            <ac:spMk id="19" creationId="{34BA19D1-1C17-1C1D-17ED-3D3BFB6B82B1}"/>
          </ac:spMkLst>
        </pc:spChg>
        <pc:spChg chg="add del mod modVis">
          <ac:chgData name="Lim, Sharon" userId="9ed40bdc-079d-4cee-a990-4411351f7f9c" providerId="ADAL" clId="{DD93C774-82BE-4DBD-AB5E-BA44CCD0E829}" dt="2023-08-31T08:01:37.175" v="7313"/>
          <ac:spMkLst>
            <pc:docMk/>
            <pc:sldMk cId="3916558037" sldId="308"/>
            <ac:spMk id="20" creationId="{2AEB7FA2-213E-021E-C3BC-8A486DF89B17}"/>
          </ac:spMkLst>
        </pc:spChg>
        <pc:spChg chg="add del mod modVis">
          <ac:chgData name="Lim, Sharon" userId="9ed40bdc-079d-4cee-a990-4411351f7f9c" providerId="ADAL" clId="{DD93C774-82BE-4DBD-AB5E-BA44CCD0E829}" dt="2023-08-31T08:01:44.463" v="7392"/>
          <ac:spMkLst>
            <pc:docMk/>
            <pc:sldMk cId="3916558037" sldId="308"/>
            <ac:spMk id="21" creationId="{61568490-F2ED-1C1A-105E-2A7D73D6E4EB}"/>
          </ac:spMkLst>
        </pc:spChg>
        <pc:spChg chg="add del mod modVis">
          <ac:chgData name="Lim, Sharon" userId="9ed40bdc-079d-4cee-a990-4411351f7f9c" providerId="ADAL" clId="{DD93C774-82BE-4DBD-AB5E-BA44CCD0E829}" dt="2023-08-31T08:01:46.591" v="7430"/>
          <ac:spMkLst>
            <pc:docMk/>
            <pc:sldMk cId="3916558037" sldId="308"/>
            <ac:spMk id="22" creationId="{D4EB46FA-AB38-00CD-1BE5-951079AB6B4C}"/>
          </ac:spMkLst>
        </pc:spChg>
        <pc:spChg chg="add del mod modVis">
          <ac:chgData name="Lim, Sharon" userId="9ed40bdc-079d-4cee-a990-4411351f7f9c" providerId="ADAL" clId="{DD93C774-82BE-4DBD-AB5E-BA44CCD0E829}" dt="2023-08-31T08:01:49.675" v="7466"/>
          <ac:spMkLst>
            <pc:docMk/>
            <pc:sldMk cId="3916558037" sldId="308"/>
            <ac:spMk id="23" creationId="{1F13E395-6A84-463D-6158-D13CB7E22FCF}"/>
          </ac:spMkLst>
        </pc:spChg>
        <pc:spChg chg="add del mod modVis">
          <ac:chgData name="Lim, Sharon" userId="9ed40bdc-079d-4cee-a990-4411351f7f9c" providerId="ADAL" clId="{DD93C774-82BE-4DBD-AB5E-BA44CCD0E829}" dt="2023-08-31T08:01:52.309" v="7511"/>
          <ac:spMkLst>
            <pc:docMk/>
            <pc:sldMk cId="3916558037" sldId="308"/>
            <ac:spMk id="24" creationId="{732C0333-1066-01D9-CFB8-9A17ADBF82BD}"/>
          </ac:spMkLst>
        </pc:spChg>
        <pc:spChg chg="add del mod modVis">
          <ac:chgData name="Lim, Sharon" userId="9ed40bdc-079d-4cee-a990-4411351f7f9c" providerId="ADAL" clId="{DD93C774-82BE-4DBD-AB5E-BA44CCD0E829}" dt="2023-08-31T08:01:54.545" v="7539"/>
          <ac:spMkLst>
            <pc:docMk/>
            <pc:sldMk cId="3916558037" sldId="308"/>
            <ac:spMk id="25" creationId="{046019BF-7F7E-964E-F787-1F2E314633A8}"/>
          </ac:spMkLst>
        </pc:spChg>
        <pc:spChg chg="add del mod modVis">
          <ac:chgData name="Lim, Sharon" userId="9ed40bdc-079d-4cee-a990-4411351f7f9c" providerId="ADAL" clId="{DD93C774-82BE-4DBD-AB5E-BA44CCD0E829}" dt="2023-08-31T08:01:57.435" v="7566"/>
          <ac:spMkLst>
            <pc:docMk/>
            <pc:sldMk cId="3916558037" sldId="308"/>
            <ac:spMk id="26" creationId="{CB7BA709-1EA1-DFDA-D99A-26F2996305E9}"/>
          </ac:spMkLst>
        </pc:spChg>
        <pc:spChg chg="add del mod modVis">
          <ac:chgData name="Lim, Sharon" userId="9ed40bdc-079d-4cee-a990-4411351f7f9c" providerId="ADAL" clId="{DD93C774-82BE-4DBD-AB5E-BA44CCD0E829}" dt="2023-08-31T08:02:36.550" v="7595"/>
          <ac:spMkLst>
            <pc:docMk/>
            <pc:sldMk cId="3916558037" sldId="308"/>
            <ac:spMk id="27" creationId="{B41C4373-6E77-D406-F6F2-457118C44E5C}"/>
          </ac:spMkLst>
        </pc:spChg>
        <pc:spChg chg="add del mod modVis">
          <ac:chgData name="Lim, Sharon" userId="9ed40bdc-079d-4cee-a990-4411351f7f9c" providerId="ADAL" clId="{DD93C774-82BE-4DBD-AB5E-BA44CCD0E829}" dt="2023-08-31T08:02:45.754" v="7626"/>
          <ac:spMkLst>
            <pc:docMk/>
            <pc:sldMk cId="3916558037" sldId="308"/>
            <ac:spMk id="28" creationId="{0A6906FE-D54E-4A9F-0FFC-D4C58DF092BA}"/>
          </ac:spMkLst>
        </pc:spChg>
        <pc:spChg chg="add del mod modVis">
          <ac:chgData name="Lim, Sharon" userId="9ed40bdc-079d-4cee-a990-4411351f7f9c" providerId="ADAL" clId="{DD93C774-82BE-4DBD-AB5E-BA44CCD0E829}" dt="2023-08-31T08:02:54.411" v="7664"/>
          <ac:spMkLst>
            <pc:docMk/>
            <pc:sldMk cId="3916558037" sldId="308"/>
            <ac:spMk id="29" creationId="{AE8F0EB6-B554-D90F-2222-38A281CFD23E}"/>
          </ac:spMkLst>
        </pc:spChg>
        <pc:spChg chg="add del mod modVis">
          <ac:chgData name="Lim, Sharon" userId="9ed40bdc-079d-4cee-a990-4411351f7f9c" providerId="ADAL" clId="{DD93C774-82BE-4DBD-AB5E-BA44CCD0E829}" dt="2023-08-31T08:02:55.941" v="7698"/>
          <ac:spMkLst>
            <pc:docMk/>
            <pc:sldMk cId="3916558037" sldId="308"/>
            <ac:spMk id="30" creationId="{51C8E611-8071-5787-DE76-1861FFD1531D}"/>
          </ac:spMkLst>
        </pc:spChg>
        <pc:spChg chg="add mod">
          <ac:chgData name="Lim, Sharon" userId="9ed40bdc-079d-4cee-a990-4411351f7f9c" providerId="ADAL" clId="{DD93C774-82BE-4DBD-AB5E-BA44CCD0E829}" dt="2023-08-31T08:54:57.096" v="9736" actId="1076"/>
          <ac:spMkLst>
            <pc:docMk/>
            <pc:sldMk cId="3916558037" sldId="308"/>
            <ac:spMk id="31" creationId="{5E48936C-E63F-67E0-820F-555722B08C16}"/>
          </ac:spMkLst>
        </pc:spChg>
        <pc:spChg chg="add mod">
          <ac:chgData name="Lim, Sharon" userId="9ed40bdc-079d-4cee-a990-4411351f7f9c" providerId="ADAL" clId="{DD93C774-82BE-4DBD-AB5E-BA44CCD0E829}" dt="2023-08-31T08:55:05.068" v="9738" actId="408"/>
          <ac:spMkLst>
            <pc:docMk/>
            <pc:sldMk cId="3916558037" sldId="308"/>
            <ac:spMk id="32" creationId="{CCE265A0-723E-FF14-EB0B-644CF6CE0B41}"/>
          </ac:spMkLst>
        </pc:spChg>
        <pc:spChg chg="add mod">
          <ac:chgData name="Lim, Sharon" userId="9ed40bdc-079d-4cee-a990-4411351f7f9c" providerId="ADAL" clId="{DD93C774-82BE-4DBD-AB5E-BA44CCD0E829}" dt="2023-08-31T08:55:05.068" v="9738" actId="408"/>
          <ac:spMkLst>
            <pc:docMk/>
            <pc:sldMk cId="3916558037" sldId="308"/>
            <ac:spMk id="33" creationId="{0CFA059E-B439-DEAD-3895-4E06C4CD13B0}"/>
          </ac:spMkLst>
        </pc:spChg>
        <pc:spChg chg="add mod">
          <ac:chgData name="Lim, Sharon" userId="9ed40bdc-079d-4cee-a990-4411351f7f9c" providerId="ADAL" clId="{DD93C774-82BE-4DBD-AB5E-BA44CCD0E829}" dt="2023-08-31T08:55:20.858" v="9744" actId="552"/>
          <ac:spMkLst>
            <pc:docMk/>
            <pc:sldMk cId="3916558037" sldId="308"/>
            <ac:spMk id="34" creationId="{7D70AF15-7F56-BF63-A67D-4682851C2781}"/>
          </ac:spMkLst>
        </pc:spChg>
        <pc:spChg chg="add mod">
          <ac:chgData name="Lim, Sharon" userId="9ed40bdc-079d-4cee-a990-4411351f7f9c" providerId="ADAL" clId="{DD93C774-82BE-4DBD-AB5E-BA44CCD0E829}" dt="2023-08-31T08:55:12.329" v="9741" actId="552"/>
          <ac:spMkLst>
            <pc:docMk/>
            <pc:sldMk cId="3916558037" sldId="308"/>
            <ac:spMk id="35" creationId="{36BA7CE2-511A-3CFB-760F-A417C705D14F}"/>
          </ac:spMkLst>
        </pc:spChg>
        <pc:spChg chg="add del mod">
          <ac:chgData name="Lim, Sharon" userId="9ed40bdc-079d-4cee-a990-4411351f7f9c" providerId="ADAL" clId="{DD93C774-82BE-4DBD-AB5E-BA44CCD0E829}" dt="2023-08-31T08:54:46.248" v="9734" actId="478"/>
          <ac:spMkLst>
            <pc:docMk/>
            <pc:sldMk cId="3916558037" sldId="308"/>
            <ac:spMk id="37" creationId="{6024A31A-9164-3A97-7109-75F40CD8C605}"/>
          </ac:spMkLst>
        </pc:spChg>
        <pc:spChg chg="add del mod">
          <ac:chgData name="Lim, Sharon" userId="9ed40bdc-079d-4cee-a990-4411351f7f9c" providerId="ADAL" clId="{DD93C774-82BE-4DBD-AB5E-BA44CCD0E829}" dt="2023-08-31T08:55:48.666" v="9752" actId="554"/>
          <ac:spMkLst>
            <pc:docMk/>
            <pc:sldMk cId="3916558037" sldId="308"/>
            <ac:spMk id="38" creationId="{5E79D896-B885-84AE-ED86-35EC269C60EE}"/>
          </ac:spMkLst>
        </pc:spChg>
        <pc:spChg chg="add mod">
          <ac:chgData name="Lim, Sharon" userId="9ed40bdc-079d-4cee-a990-4411351f7f9c" providerId="ADAL" clId="{DD93C774-82BE-4DBD-AB5E-BA44CCD0E829}" dt="2023-08-31T08:55:48.666" v="9752" actId="554"/>
          <ac:spMkLst>
            <pc:docMk/>
            <pc:sldMk cId="3916558037" sldId="308"/>
            <ac:spMk id="39" creationId="{A0F84B71-56A0-5DC9-6808-7709915C5045}"/>
          </ac:spMkLst>
        </pc:spChg>
        <pc:spChg chg="add mod">
          <ac:chgData name="Lim, Sharon" userId="9ed40bdc-079d-4cee-a990-4411351f7f9c" providerId="ADAL" clId="{DD93C774-82BE-4DBD-AB5E-BA44CCD0E829}" dt="2023-09-01T00:23:19.409" v="63779" actId="12"/>
          <ac:spMkLst>
            <pc:docMk/>
            <pc:sldMk cId="3916558037" sldId="308"/>
            <ac:spMk id="40" creationId="{7A721A47-161F-5A84-44D9-B00783C6B759}"/>
          </ac:spMkLst>
        </pc:spChg>
        <pc:spChg chg="add del mod">
          <ac:chgData name="Lim, Sharon" userId="9ed40bdc-079d-4cee-a990-4411351f7f9c" providerId="ADAL" clId="{DD93C774-82BE-4DBD-AB5E-BA44CCD0E829}" dt="2023-08-31T08:54:24.863" v="9728" actId="478"/>
          <ac:spMkLst>
            <pc:docMk/>
            <pc:sldMk cId="3916558037" sldId="308"/>
            <ac:spMk id="41" creationId="{D3B13E9F-B464-535E-AFDA-613CB033F6CC}"/>
          </ac:spMkLst>
        </pc:spChg>
        <pc:spChg chg="add mod">
          <ac:chgData name="Lim, Sharon" userId="9ed40bdc-079d-4cee-a990-4411351f7f9c" providerId="ADAL" clId="{DD93C774-82BE-4DBD-AB5E-BA44CCD0E829}" dt="2023-08-31T08:55:48.666" v="9752" actId="554"/>
          <ac:spMkLst>
            <pc:docMk/>
            <pc:sldMk cId="3916558037" sldId="308"/>
            <ac:spMk id="42" creationId="{7210E481-519F-9502-0EE6-0638F1C64D6C}"/>
          </ac:spMkLst>
        </pc:spChg>
        <pc:spChg chg="add mod">
          <ac:chgData name="Lim, Sharon" userId="9ed40bdc-079d-4cee-a990-4411351f7f9c" providerId="ADAL" clId="{DD93C774-82BE-4DBD-AB5E-BA44CCD0E829}" dt="2023-08-31T08:55:48.666" v="9752" actId="554"/>
          <ac:spMkLst>
            <pc:docMk/>
            <pc:sldMk cId="3916558037" sldId="308"/>
            <ac:spMk id="43" creationId="{76083C93-DEBB-70D1-4F78-741A28787C5F}"/>
          </ac:spMkLst>
        </pc:spChg>
        <pc:spChg chg="add del mod modVis">
          <ac:chgData name="Lim, Sharon" userId="9ed40bdc-079d-4cee-a990-4411351f7f9c" providerId="ADAL" clId="{DD93C774-82BE-4DBD-AB5E-BA44CCD0E829}" dt="2023-08-31T08:49:35.872" v="9380"/>
          <ac:spMkLst>
            <pc:docMk/>
            <pc:sldMk cId="3916558037" sldId="308"/>
            <ac:spMk id="44" creationId="{B75F9C4F-3444-CA2B-2E45-2F68299F6891}"/>
          </ac:spMkLst>
        </pc:spChg>
        <pc:spChg chg="add mod">
          <ac:chgData name="Lim, Sharon" userId="9ed40bdc-079d-4cee-a990-4411351f7f9c" providerId="ADAL" clId="{DD93C774-82BE-4DBD-AB5E-BA44CCD0E829}" dt="2023-09-01T02:40:07.777" v="66348" actId="20577"/>
          <ac:spMkLst>
            <pc:docMk/>
            <pc:sldMk cId="3916558037" sldId="308"/>
            <ac:spMk id="45" creationId="{929159E5-1499-BE18-A995-F3F101C72C45}"/>
          </ac:spMkLst>
        </pc:spChg>
        <pc:graphicFrameChg chg="mod">
          <ac:chgData name="Lim, Sharon" userId="9ed40bdc-079d-4cee-a990-4411351f7f9c" providerId="ADAL" clId="{DD93C774-82BE-4DBD-AB5E-BA44CCD0E829}" dt="2023-08-31T08:49:35.875" v="9382"/>
          <ac:graphicFrameMkLst>
            <pc:docMk/>
            <pc:sldMk cId="3916558037" sldId="308"/>
            <ac:graphicFrameMk id="5" creationId="{7BFFA62B-8410-FE95-0CC2-25B1825F08EF}"/>
          </ac:graphicFrameMkLst>
        </pc:graphicFrameChg>
        <pc:graphicFrameChg chg="add del mod modGraphic">
          <ac:chgData name="Lim, Sharon" userId="9ed40bdc-079d-4cee-a990-4411351f7f9c" providerId="ADAL" clId="{DD93C774-82BE-4DBD-AB5E-BA44CCD0E829}" dt="2023-08-31T08:23:22.460" v="7871" actId="478"/>
          <ac:graphicFrameMkLst>
            <pc:docMk/>
            <pc:sldMk cId="3916558037" sldId="308"/>
            <ac:graphicFrameMk id="36" creationId="{FCD9A9B4-8806-3A3D-6A76-830D63410575}"/>
          </ac:graphicFrameMkLst>
        </pc:graphicFrameChg>
      </pc:sldChg>
      <pc:sldChg chg="addSp delSp modSp new add mod ord">
        <pc:chgData name="Lim, Sharon" userId="9ed40bdc-079d-4cee-a990-4411351f7f9c" providerId="ADAL" clId="{DD93C774-82BE-4DBD-AB5E-BA44CCD0E829}" dt="2023-09-01T04:03:10.095" v="67367"/>
        <pc:sldMkLst>
          <pc:docMk/>
          <pc:sldMk cId="3793799286" sldId="309"/>
        </pc:sldMkLst>
        <pc:spChg chg="del">
          <ac:chgData name="Lim, Sharon" userId="9ed40bdc-079d-4cee-a990-4411351f7f9c" providerId="ADAL" clId="{DD93C774-82BE-4DBD-AB5E-BA44CCD0E829}" dt="2023-08-31T08:43:12.770" v="9164" actId="478"/>
          <ac:spMkLst>
            <pc:docMk/>
            <pc:sldMk cId="3793799286" sldId="309"/>
            <ac:spMk id="2" creationId="{65A76A2F-64B3-9EAB-1600-6EC4898AB242}"/>
          </ac:spMkLst>
        </pc:spChg>
        <pc:spChg chg="del">
          <ac:chgData name="Lim, Sharon" userId="9ed40bdc-079d-4cee-a990-4411351f7f9c" providerId="ADAL" clId="{DD93C774-82BE-4DBD-AB5E-BA44CCD0E829}" dt="2023-08-31T08:43:13.648" v="9182" actId="478"/>
          <ac:spMkLst>
            <pc:docMk/>
            <pc:sldMk cId="3793799286" sldId="309"/>
            <ac:spMk id="3" creationId="{E40610E9-63E3-93CD-5976-87D19E0E262C}"/>
          </ac:spMkLst>
        </pc:spChg>
        <pc:spChg chg="add mod ord">
          <ac:chgData name="Lim, Sharon" userId="9ed40bdc-079d-4cee-a990-4411351f7f9c" providerId="ADAL" clId="{DD93C774-82BE-4DBD-AB5E-BA44CCD0E829}" dt="2023-08-31T09:24:54.494" v="28185"/>
          <ac:spMkLst>
            <pc:docMk/>
            <pc:sldMk cId="3793799286" sldId="309"/>
            <ac:spMk id="5" creationId="{9727673B-8413-CCDC-BA64-7D07EAE62EA3}"/>
          </ac:spMkLst>
        </pc:spChg>
        <pc:spChg chg="add del mod ord">
          <ac:chgData name="Lim, Sharon" userId="9ed40bdc-079d-4cee-a990-4411351f7f9c" providerId="ADAL" clId="{DD93C774-82BE-4DBD-AB5E-BA44CCD0E829}" dt="2023-08-31T09:25:08.229" v="28246" actId="478"/>
          <ac:spMkLst>
            <pc:docMk/>
            <pc:sldMk cId="3793799286" sldId="309"/>
            <ac:spMk id="6" creationId="{95F89051-279F-98F0-F3A3-E8717CF3EC24}"/>
          </ac:spMkLst>
        </pc:spChg>
        <pc:spChg chg="add del mod">
          <ac:chgData name="Lim, Sharon" userId="9ed40bdc-079d-4cee-a990-4411351f7f9c" providerId="ADAL" clId="{DD93C774-82BE-4DBD-AB5E-BA44CCD0E829}" dt="2023-08-31T08:44:49.848" v="9247" actId="478"/>
          <ac:spMkLst>
            <pc:docMk/>
            <pc:sldMk cId="3793799286" sldId="309"/>
            <ac:spMk id="7" creationId="{E4F3129F-3666-4ABB-F4EA-A3D3F19C6696}"/>
          </ac:spMkLst>
        </pc:spChg>
        <pc:spChg chg="add del mod">
          <ac:chgData name="Lim, Sharon" userId="9ed40bdc-079d-4cee-a990-4411351f7f9c" providerId="ADAL" clId="{DD93C774-82BE-4DBD-AB5E-BA44CCD0E829}" dt="2023-08-31T08:44:49.848" v="9247" actId="478"/>
          <ac:spMkLst>
            <pc:docMk/>
            <pc:sldMk cId="3793799286" sldId="309"/>
            <ac:spMk id="8" creationId="{3BF4F698-746E-D8DF-9587-089F6962BB17}"/>
          </ac:spMkLst>
        </pc:spChg>
        <pc:spChg chg="add del mod">
          <ac:chgData name="Lim, Sharon" userId="9ed40bdc-079d-4cee-a990-4411351f7f9c" providerId="ADAL" clId="{DD93C774-82BE-4DBD-AB5E-BA44CCD0E829}" dt="2023-08-31T08:44:49.848" v="9247" actId="478"/>
          <ac:spMkLst>
            <pc:docMk/>
            <pc:sldMk cId="3793799286" sldId="309"/>
            <ac:spMk id="9" creationId="{B349B384-2E54-DE34-55B2-C12E44D0EF7E}"/>
          </ac:spMkLst>
        </pc:spChg>
        <pc:spChg chg="add del mod">
          <ac:chgData name="Lim, Sharon" userId="9ed40bdc-079d-4cee-a990-4411351f7f9c" providerId="ADAL" clId="{DD93C774-82BE-4DBD-AB5E-BA44CCD0E829}" dt="2023-08-31T08:44:49.848" v="9247" actId="478"/>
          <ac:spMkLst>
            <pc:docMk/>
            <pc:sldMk cId="3793799286" sldId="309"/>
            <ac:spMk id="10" creationId="{669A03BF-3416-39E3-2804-250D42686478}"/>
          </ac:spMkLst>
        </pc:spChg>
        <pc:spChg chg="add del mod">
          <ac:chgData name="Lim, Sharon" userId="9ed40bdc-079d-4cee-a990-4411351f7f9c" providerId="ADAL" clId="{DD93C774-82BE-4DBD-AB5E-BA44CCD0E829}" dt="2023-08-31T08:44:49.848" v="9247" actId="478"/>
          <ac:spMkLst>
            <pc:docMk/>
            <pc:sldMk cId="3793799286" sldId="309"/>
            <ac:spMk id="11" creationId="{D13B7D99-1CBB-AC73-A821-8E46DF58086E}"/>
          </ac:spMkLst>
        </pc:spChg>
        <pc:spChg chg="add del mod">
          <ac:chgData name="Lim, Sharon" userId="9ed40bdc-079d-4cee-a990-4411351f7f9c" providerId="ADAL" clId="{DD93C774-82BE-4DBD-AB5E-BA44CCD0E829}" dt="2023-08-31T08:44:49.848" v="9247" actId="478"/>
          <ac:spMkLst>
            <pc:docMk/>
            <pc:sldMk cId="3793799286" sldId="309"/>
            <ac:spMk id="12" creationId="{318C7326-4B00-695A-CDBF-BF8401E56828}"/>
          </ac:spMkLst>
        </pc:spChg>
        <pc:spChg chg="add del mod">
          <ac:chgData name="Lim, Sharon" userId="9ed40bdc-079d-4cee-a990-4411351f7f9c" providerId="ADAL" clId="{DD93C774-82BE-4DBD-AB5E-BA44CCD0E829}" dt="2023-08-31T08:44:49.848" v="9247" actId="478"/>
          <ac:spMkLst>
            <pc:docMk/>
            <pc:sldMk cId="3793799286" sldId="309"/>
            <ac:spMk id="13" creationId="{48D7D318-F3D9-CBFA-EB07-4D7F9E1337A0}"/>
          </ac:spMkLst>
        </pc:spChg>
        <pc:spChg chg="add del mod ord">
          <ac:chgData name="Lim, Sharon" userId="9ed40bdc-079d-4cee-a990-4411351f7f9c" providerId="ADAL" clId="{DD93C774-82BE-4DBD-AB5E-BA44CCD0E829}" dt="2023-08-31T09:09:47.389" v="26842"/>
          <ac:spMkLst>
            <pc:docMk/>
            <pc:sldMk cId="3793799286" sldId="309"/>
            <ac:spMk id="14" creationId="{29167E0B-A183-45CF-2656-48D18D96DE62}"/>
          </ac:spMkLst>
        </pc:spChg>
        <pc:spChg chg="add del mod ord">
          <ac:chgData name="Lim, Sharon" userId="9ed40bdc-079d-4cee-a990-4411351f7f9c" providerId="ADAL" clId="{DD93C774-82BE-4DBD-AB5E-BA44CCD0E829}" dt="2023-08-31T09:24:28.356" v="28142" actId="21"/>
          <ac:spMkLst>
            <pc:docMk/>
            <pc:sldMk cId="3793799286" sldId="309"/>
            <ac:spMk id="15" creationId="{6F1E9D4D-8E98-F851-18AD-45F0C0C2E6E1}"/>
          </ac:spMkLst>
        </pc:spChg>
        <pc:spChg chg="add mod ord">
          <ac:chgData name="Lim, Sharon" userId="9ed40bdc-079d-4cee-a990-4411351f7f9c" providerId="ADAL" clId="{DD93C774-82BE-4DBD-AB5E-BA44CCD0E829}" dt="2023-08-31T09:24:54.496" v="28189"/>
          <ac:spMkLst>
            <pc:docMk/>
            <pc:sldMk cId="3793799286" sldId="309"/>
            <ac:spMk id="16" creationId="{2FF2D8B4-DA3D-E235-A241-0BA0FFB3882F}"/>
          </ac:spMkLst>
        </pc:spChg>
        <pc:spChg chg="add del mod modVis">
          <ac:chgData name="Lim, Sharon" userId="9ed40bdc-079d-4cee-a990-4411351f7f9c" providerId="ADAL" clId="{DD93C774-82BE-4DBD-AB5E-BA44CCD0E829}" dt="2023-08-31T09:01:25.346" v="10572"/>
          <ac:spMkLst>
            <pc:docMk/>
            <pc:sldMk cId="3793799286" sldId="309"/>
            <ac:spMk id="17" creationId="{55D91E51-3C92-9C0D-2401-25C28D05B5E6}"/>
          </ac:spMkLst>
        </pc:spChg>
        <pc:spChg chg="add mod replST">
          <ac:chgData name="Lim, Sharon" userId="9ed40bdc-079d-4cee-a990-4411351f7f9c" providerId="ADAL" clId="{DD93C774-82BE-4DBD-AB5E-BA44CCD0E829}" dt="2023-08-31T09:24:54.511" v="28218"/>
          <ac:spMkLst>
            <pc:docMk/>
            <pc:sldMk cId="3793799286" sldId="309"/>
            <ac:spMk id="18" creationId="{157E2803-2BF7-ABD7-C482-D7A3AD0399C5}"/>
          </ac:spMkLst>
        </pc:spChg>
        <pc:spChg chg="add del mod replST">
          <ac:chgData name="Lim, Sharon" userId="9ed40bdc-079d-4cee-a990-4411351f7f9c" providerId="ADAL" clId="{DD93C774-82BE-4DBD-AB5E-BA44CCD0E829}" dt="2023-08-31T09:01:59.809" v="10742"/>
          <ac:spMkLst>
            <pc:docMk/>
            <pc:sldMk cId="3793799286" sldId="309"/>
            <ac:spMk id="19" creationId="{157E2803-2BF7-ABD7-C482-D7A3AD0399C5}"/>
          </ac:spMkLst>
        </pc:spChg>
        <pc:spChg chg="add del mod replST">
          <ac:chgData name="Lim, Sharon" userId="9ed40bdc-079d-4cee-a990-4411351f7f9c" providerId="ADAL" clId="{DD93C774-82BE-4DBD-AB5E-BA44CCD0E829}" dt="2023-08-31T09:01:59.815" v="10745"/>
          <ac:spMkLst>
            <pc:docMk/>
            <pc:sldMk cId="3793799286" sldId="309"/>
            <ac:spMk id="20" creationId="{157E2803-2BF7-ABD7-C482-D7A3AD0399C5}"/>
          </ac:spMkLst>
        </pc:spChg>
        <pc:spChg chg="add del mod replST">
          <ac:chgData name="Lim, Sharon" userId="9ed40bdc-079d-4cee-a990-4411351f7f9c" providerId="ADAL" clId="{DD93C774-82BE-4DBD-AB5E-BA44CCD0E829}" dt="2023-08-31T09:04:13.829" v="13291"/>
          <ac:spMkLst>
            <pc:docMk/>
            <pc:sldMk cId="3793799286" sldId="309"/>
            <ac:spMk id="21" creationId="{157E2803-2BF7-ABD7-C482-D7A3AD0399C5}"/>
          </ac:spMkLst>
        </pc:spChg>
        <pc:spChg chg="add del mod replST">
          <ac:chgData name="Lim, Sharon" userId="9ed40bdc-079d-4cee-a990-4411351f7f9c" providerId="ADAL" clId="{DD93C774-82BE-4DBD-AB5E-BA44CCD0E829}" dt="2023-08-31T09:02:35.415" v="12104"/>
          <ac:spMkLst>
            <pc:docMk/>
            <pc:sldMk cId="3793799286" sldId="309"/>
            <ac:spMk id="22" creationId="{157E2803-2BF7-ABD7-C482-D7A3AD0399C5}"/>
          </ac:spMkLst>
        </pc:spChg>
        <pc:spChg chg="add del mod replST">
          <ac:chgData name="Lim, Sharon" userId="9ed40bdc-079d-4cee-a990-4411351f7f9c" providerId="ADAL" clId="{DD93C774-82BE-4DBD-AB5E-BA44CCD0E829}" dt="2023-08-31T09:02:35.417" v="12107"/>
          <ac:spMkLst>
            <pc:docMk/>
            <pc:sldMk cId="3793799286" sldId="309"/>
            <ac:spMk id="23" creationId="{157E2803-2BF7-ABD7-C482-D7A3AD0399C5}"/>
          </ac:spMkLst>
        </pc:spChg>
        <pc:spChg chg="add del mod replST">
          <ac:chgData name="Lim, Sharon" userId="9ed40bdc-079d-4cee-a990-4411351f7f9c" providerId="ADAL" clId="{DD93C774-82BE-4DBD-AB5E-BA44CCD0E829}" dt="2023-08-31T09:02:35.656" v="12220"/>
          <ac:spMkLst>
            <pc:docMk/>
            <pc:sldMk cId="3793799286" sldId="309"/>
            <ac:spMk id="24" creationId="{157E2803-2BF7-ABD7-C482-D7A3AD0399C5}"/>
          </ac:spMkLst>
        </pc:spChg>
        <pc:spChg chg="add del mod replST">
          <ac:chgData name="Lim, Sharon" userId="9ed40bdc-079d-4cee-a990-4411351f7f9c" providerId="ADAL" clId="{DD93C774-82BE-4DBD-AB5E-BA44CCD0E829}" dt="2023-08-31T09:02:35.657" v="12221"/>
          <ac:spMkLst>
            <pc:docMk/>
            <pc:sldMk cId="3793799286" sldId="309"/>
            <ac:spMk id="25" creationId="{157E2803-2BF7-ABD7-C482-D7A3AD0399C5}"/>
          </ac:spMkLst>
        </pc:spChg>
        <pc:spChg chg="add del mod replST">
          <ac:chgData name="Lim, Sharon" userId="9ed40bdc-079d-4cee-a990-4411351f7f9c" providerId="ADAL" clId="{DD93C774-82BE-4DBD-AB5E-BA44CCD0E829}" dt="2023-08-31T09:02:35.657" v="12222"/>
          <ac:spMkLst>
            <pc:docMk/>
            <pc:sldMk cId="3793799286" sldId="309"/>
            <ac:spMk id="26" creationId="{157E2803-2BF7-ABD7-C482-D7A3AD0399C5}"/>
          </ac:spMkLst>
        </pc:spChg>
        <pc:spChg chg="add del mod modVis">
          <ac:chgData name="Lim, Sharon" userId="9ed40bdc-079d-4cee-a990-4411351f7f9c" providerId="ADAL" clId="{DD93C774-82BE-4DBD-AB5E-BA44CCD0E829}" dt="2023-08-31T09:01:29.998" v="10685"/>
          <ac:spMkLst>
            <pc:docMk/>
            <pc:sldMk cId="3793799286" sldId="309"/>
            <ac:spMk id="28" creationId="{70F5F876-1C40-6E95-DCBF-3A9F849339AB}"/>
          </ac:spMkLst>
        </pc:spChg>
        <pc:spChg chg="add del mod modVis">
          <ac:chgData name="Lim, Sharon" userId="9ed40bdc-079d-4cee-a990-4411351f7f9c" providerId="ADAL" clId="{DD93C774-82BE-4DBD-AB5E-BA44CCD0E829}" dt="2023-08-31T09:01:59.928" v="10789"/>
          <ac:spMkLst>
            <pc:docMk/>
            <pc:sldMk cId="3793799286" sldId="309"/>
            <ac:spMk id="30" creationId="{03B335E9-454F-9990-661B-F57E1C8180FC}"/>
          </ac:spMkLst>
        </pc:spChg>
        <pc:spChg chg="add mod replST">
          <ac:chgData name="Lim, Sharon" userId="9ed40bdc-079d-4cee-a990-4411351f7f9c" providerId="ADAL" clId="{DD93C774-82BE-4DBD-AB5E-BA44CCD0E829}" dt="2023-08-31T09:24:54.511" v="28219"/>
          <ac:spMkLst>
            <pc:docMk/>
            <pc:sldMk cId="3793799286" sldId="309"/>
            <ac:spMk id="32" creationId="{5D65A820-9D1B-5257-C6AE-25173CA0ECA4}"/>
          </ac:spMkLst>
        </pc:spChg>
        <pc:spChg chg="add del mod modVis">
          <ac:chgData name="Lim, Sharon" userId="9ed40bdc-079d-4cee-a990-4411351f7f9c" providerId="ADAL" clId="{DD93C774-82BE-4DBD-AB5E-BA44CCD0E829}" dt="2023-08-31T09:02:02.594" v="10894"/>
          <ac:spMkLst>
            <pc:docMk/>
            <pc:sldMk cId="3793799286" sldId="309"/>
            <ac:spMk id="33" creationId="{B7723F24-A196-F38D-9194-0D0904762BD6}"/>
          </ac:spMkLst>
        </pc:spChg>
        <pc:spChg chg="add mod replST">
          <ac:chgData name="Lim, Sharon" userId="9ed40bdc-079d-4cee-a990-4411351f7f9c" providerId="ADAL" clId="{DD93C774-82BE-4DBD-AB5E-BA44CCD0E829}" dt="2023-08-31T09:24:54.511" v="28220"/>
          <ac:spMkLst>
            <pc:docMk/>
            <pc:sldMk cId="3793799286" sldId="309"/>
            <ac:spMk id="35" creationId="{546A5A00-4CA4-6B68-3A13-BAD163ADE4E9}"/>
          </ac:spMkLst>
        </pc:spChg>
        <pc:spChg chg="add del mod modVis">
          <ac:chgData name="Lim, Sharon" userId="9ed40bdc-079d-4cee-a990-4411351f7f9c" providerId="ADAL" clId="{DD93C774-82BE-4DBD-AB5E-BA44CCD0E829}" dt="2023-08-31T09:02:05.212" v="11001"/>
          <ac:spMkLst>
            <pc:docMk/>
            <pc:sldMk cId="3793799286" sldId="309"/>
            <ac:spMk id="36" creationId="{CFA3A668-7FD2-1A60-9910-09B7C33CA780}"/>
          </ac:spMkLst>
        </pc:spChg>
        <pc:spChg chg="add mod replST">
          <ac:chgData name="Lim, Sharon" userId="9ed40bdc-079d-4cee-a990-4411351f7f9c" providerId="ADAL" clId="{DD93C774-82BE-4DBD-AB5E-BA44CCD0E829}" dt="2023-08-31T09:24:54.513" v="28221"/>
          <ac:spMkLst>
            <pc:docMk/>
            <pc:sldMk cId="3793799286" sldId="309"/>
            <ac:spMk id="38" creationId="{5561C089-7D65-2038-B31C-5144A665B12B}"/>
          </ac:spMkLst>
        </pc:spChg>
        <pc:spChg chg="add del mod modVis">
          <ac:chgData name="Lim, Sharon" userId="9ed40bdc-079d-4cee-a990-4411351f7f9c" providerId="ADAL" clId="{DD93C774-82BE-4DBD-AB5E-BA44CCD0E829}" dt="2023-08-31T09:02:07.641" v="11185"/>
          <ac:spMkLst>
            <pc:docMk/>
            <pc:sldMk cId="3793799286" sldId="309"/>
            <ac:spMk id="39" creationId="{64A1EA3A-F1F0-5E63-851C-682288C416C3}"/>
          </ac:spMkLst>
        </pc:spChg>
        <pc:spChg chg="add mod replST">
          <ac:chgData name="Lim, Sharon" userId="9ed40bdc-079d-4cee-a990-4411351f7f9c" providerId="ADAL" clId="{DD93C774-82BE-4DBD-AB5E-BA44CCD0E829}" dt="2023-08-31T09:24:54.513" v="28222"/>
          <ac:spMkLst>
            <pc:docMk/>
            <pc:sldMk cId="3793799286" sldId="309"/>
            <ac:spMk id="44" creationId="{D9120BAD-03CA-94A5-FA00-F7A35DD9A4E5}"/>
          </ac:spMkLst>
        </pc:spChg>
        <pc:spChg chg="add del mod modVis">
          <ac:chgData name="Lim, Sharon" userId="9ed40bdc-079d-4cee-a990-4411351f7f9c" providerId="ADAL" clId="{DD93C774-82BE-4DBD-AB5E-BA44CCD0E829}" dt="2023-08-31T09:02:09.911" v="11334"/>
          <ac:spMkLst>
            <pc:docMk/>
            <pc:sldMk cId="3793799286" sldId="309"/>
            <ac:spMk id="45" creationId="{5FD168DB-9CA3-7179-7E1D-BC4E7C91E441}"/>
          </ac:spMkLst>
        </pc:spChg>
        <pc:spChg chg="add mod replST">
          <ac:chgData name="Lim, Sharon" userId="9ed40bdc-079d-4cee-a990-4411351f7f9c" providerId="ADAL" clId="{DD93C774-82BE-4DBD-AB5E-BA44CCD0E829}" dt="2023-08-31T09:24:54.514" v="28223"/>
          <ac:spMkLst>
            <pc:docMk/>
            <pc:sldMk cId="3793799286" sldId="309"/>
            <ac:spMk id="47" creationId="{511EC679-FF30-19D6-F9FF-97D86B17C799}"/>
          </ac:spMkLst>
        </pc:spChg>
        <pc:spChg chg="add del mod modVis">
          <ac:chgData name="Lim, Sharon" userId="9ed40bdc-079d-4cee-a990-4411351f7f9c" providerId="ADAL" clId="{DD93C774-82BE-4DBD-AB5E-BA44CCD0E829}" dt="2023-08-31T09:02:12.965" v="11487"/>
          <ac:spMkLst>
            <pc:docMk/>
            <pc:sldMk cId="3793799286" sldId="309"/>
            <ac:spMk id="48" creationId="{A537B943-B814-8761-746B-42B2BB8077A3}"/>
          </ac:spMkLst>
        </pc:spChg>
        <pc:spChg chg="add mod replST">
          <ac:chgData name="Lim, Sharon" userId="9ed40bdc-079d-4cee-a990-4411351f7f9c" providerId="ADAL" clId="{DD93C774-82BE-4DBD-AB5E-BA44CCD0E829}" dt="2023-08-31T09:24:54.514" v="28224"/>
          <ac:spMkLst>
            <pc:docMk/>
            <pc:sldMk cId="3793799286" sldId="309"/>
            <ac:spMk id="50" creationId="{839135F9-7162-242D-D3FC-A07DA98CD839}"/>
          </ac:spMkLst>
        </pc:spChg>
        <pc:spChg chg="add del mod modVis">
          <ac:chgData name="Lim, Sharon" userId="9ed40bdc-079d-4cee-a990-4411351f7f9c" providerId="ADAL" clId="{DD93C774-82BE-4DBD-AB5E-BA44CCD0E829}" dt="2023-08-31T09:02:14.963" v="11644"/>
          <ac:spMkLst>
            <pc:docMk/>
            <pc:sldMk cId="3793799286" sldId="309"/>
            <ac:spMk id="51" creationId="{EB75395F-64F0-98BE-D754-ACC2F1ED9191}"/>
          </ac:spMkLst>
        </pc:spChg>
        <pc:spChg chg="add mod replST">
          <ac:chgData name="Lim, Sharon" userId="9ed40bdc-079d-4cee-a990-4411351f7f9c" providerId="ADAL" clId="{DD93C774-82BE-4DBD-AB5E-BA44CCD0E829}" dt="2023-08-31T09:24:54.515" v="28225"/>
          <ac:spMkLst>
            <pc:docMk/>
            <pc:sldMk cId="3793799286" sldId="309"/>
            <ac:spMk id="53" creationId="{E31E34D7-53E7-EBEE-CD0F-0434A85EA9DB}"/>
          </ac:spMkLst>
        </pc:spChg>
        <pc:spChg chg="add del mod modVis">
          <ac:chgData name="Lim, Sharon" userId="9ed40bdc-079d-4cee-a990-4411351f7f9c" providerId="ADAL" clId="{DD93C774-82BE-4DBD-AB5E-BA44CCD0E829}" dt="2023-08-31T09:02:17.357" v="11805"/>
          <ac:spMkLst>
            <pc:docMk/>
            <pc:sldMk cId="3793799286" sldId="309"/>
            <ac:spMk id="54" creationId="{AE19917E-0229-DE89-8888-7E8DB92CEEDF}"/>
          </ac:spMkLst>
        </pc:spChg>
        <pc:spChg chg="add mod replST">
          <ac:chgData name="Lim, Sharon" userId="9ed40bdc-079d-4cee-a990-4411351f7f9c" providerId="ADAL" clId="{DD93C774-82BE-4DBD-AB5E-BA44CCD0E829}" dt="2023-08-31T09:24:54.515" v="28226"/>
          <ac:spMkLst>
            <pc:docMk/>
            <pc:sldMk cId="3793799286" sldId="309"/>
            <ac:spMk id="56" creationId="{C3931345-9C13-E839-C086-02A6C84EA14B}"/>
          </ac:spMkLst>
        </pc:spChg>
        <pc:spChg chg="add del mod modVis">
          <ac:chgData name="Lim, Sharon" userId="9ed40bdc-079d-4cee-a990-4411351f7f9c" providerId="ADAL" clId="{DD93C774-82BE-4DBD-AB5E-BA44CCD0E829}" dt="2023-08-31T09:02:20.298" v="11979"/>
          <ac:spMkLst>
            <pc:docMk/>
            <pc:sldMk cId="3793799286" sldId="309"/>
            <ac:spMk id="57" creationId="{AD35B9AC-4022-72C5-8C9A-20133F892DC0}"/>
          </ac:spMkLst>
        </pc:spChg>
        <pc:spChg chg="add del mod modVis">
          <ac:chgData name="Lim, Sharon" userId="9ed40bdc-079d-4cee-a990-4411351f7f9c" providerId="ADAL" clId="{DD93C774-82BE-4DBD-AB5E-BA44CCD0E829}" dt="2023-08-31T09:02:32.071" v="12099"/>
          <ac:spMkLst>
            <pc:docMk/>
            <pc:sldMk cId="3793799286" sldId="309"/>
            <ac:spMk id="59" creationId="{EBA6BF90-5A9B-8C2C-32E0-B30239D200A7}"/>
          </ac:spMkLst>
        </pc:spChg>
        <pc:spChg chg="add del mod modVis">
          <ac:chgData name="Lim, Sharon" userId="9ed40bdc-079d-4cee-a990-4411351f7f9c" providerId="ADAL" clId="{DD93C774-82BE-4DBD-AB5E-BA44CCD0E829}" dt="2023-08-31T09:02:35.735" v="12265"/>
          <ac:spMkLst>
            <pc:docMk/>
            <pc:sldMk cId="3793799286" sldId="309"/>
            <ac:spMk id="61" creationId="{8B79B767-8344-82E0-AFC8-044871E9FF84}"/>
          </ac:spMkLst>
        </pc:spChg>
        <pc:spChg chg="add del mod modVis">
          <ac:chgData name="Lim, Sharon" userId="9ed40bdc-079d-4cee-a990-4411351f7f9c" providerId="ADAL" clId="{DD93C774-82BE-4DBD-AB5E-BA44CCD0E829}" dt="2023-08-31T09:02:43.084" v="12359"/>
          <ac:spMkLst>
            <pc:docMk/>
            <pc:sldMk cId="3793799286" sldId="309"/>
            <ac:spMk id="63" creationId="{5564A595-A3F8-1F69-2108-55E3CCFCBDD5}"/>
          </ac:spMkLst>
        </pc:spChg>
        <pc:spChg chg="add del mod modVis">
          <ac:chgData name="Lim, Sharon" userId="9ed40bdc-079d-4cee-a990-4411351f7f9c" providerId="ADAL" clId="{DD93C774-82BE-4DBD-AB5E-BA44CCD0E829}" dt="2023-08-31T09:02:47.178" v="12435"/>
          <ac:spMkLst>
            <pc:docMk/>
            <pc:sldMk cId="3793799286" sldId="309"/>
            <ac:spMk id="65" creationId="{864ADF29-FC99-53EE-D44D-19313272E4E7}"/>
          </ac:spMkLst>
        </pc:spChg>
        <pc:spChg chg="add del mod modVis">
          <ac:chgData name="Lim, Sharon" userId="9ed40bdc-079d-4cee-a990-4411351f7f9c" providerId="ADAL" clId="{DD93C774-82BE-4DBD-AB5E-BA44CCD0E829}" dt="2023-08-31T09:02:52.255" v="12511"/>
          <ac:spMkLst>
            <pc:docMk/>
            <pc:sldMk cId="3793799286" sldId="309"/>
            <ac:spMk id="67" creationId="{7DCDF755-8A17-DC11-6AE6-0FE209A285A7}"/>
          </ac:spMkLst>
        </pc:spChg>
        <pc:spChg chg="add del mod modVis">
          <ac:chgData name="Lim, Sharon" userId="9ed40bdc-079d-4cee-a990-4411351f7f9c" providerId="ADAL" clId="{DD93C774-82BE-4DBD-AB5E-BA44CCD0E829}" dt="2023-08-31T09:02:57.432" v="12587"/>
          <ac:spMkLst>
            <pc:docMk/>
            <pc:sldMk cId="3793799286" sldId="309"/>
            <ac:spMk id="69" creationId="{8752CB86-589D-5495-E4FB-90A8765F6A22}"/>
          </ac:spMkLst>
        </pc:spChg>
        <pc:spChg chg="add del mod modVis">
          <ac:chgData name="Lim, Sharon" userId="9ed40bdc-079d-4cee-a990-4411351f7f9c" providerId="ADAL" clId="{DD93C774-82BE-4DBD-AB5E-BA44CCD0E829}" dt="2023-08-31T09:03:00.453" v="12663"/>
          <ac:spMkLst>
            <pc:docMk/>
            <pc:sldMk cId="3793799286" sldId="309"/>
            <ac:spMk id="71" creationId="{5D80E4F2-D9A6-5FD7-FD5C-418859AFD73F}"/>
          </ac:spMkLst>
        </pc:spChg>
        <pc:spChg chg="add del mod modVis">
          <ac:chgData name="Lim, Sharon" userId="9ed40bdc-079d-4cee-a990-4411351f7f9c" providerId="ADAL" clId="{DD93C774-82BE-4DBD-AB5E-BA44CCD0E829}" dt="2023-08-31T09:03:03.227" v="12739"/>
          <ac:spMkLst>
            <pc:docMk/>
            <pc:sldMk cId="3793799286" sldId="309"/>
            <ac:spMk id="73" creationId="{4FE85AE1-8923-AC8B-BC3B-8D9A48A48A70}"/>
          </ac:spMkLst>
        </pc:spChg>
        <pc:spChg chg="add del mod modVis">
          <ac:chgData name="Lim, Sharon" userId="9ed40bdc-079d-4cee-a990-4411351f7f9c" providerId="ADAL" clId="{DD93C774-82BE-4DBD-AB5E-BA44CCD0E829}" dt="2023-08-31T09:03:05.868" v="12815"/>
          <ac:spMkLst>
            <pc:docMk/>
            <pc:sldMk cId="3793799286" sldId="309"/>
            <ac:spMk id="75" creationId="{2670025A-17DF-2A58-AEDA-D2DF7592AB4C}"/>
          </ac:spMkLst>
        </pc:spChg>
        <pc:spChg chg="add del mod modVis">
          <ac:chgData name="Lim, Sharon" userId="9ed40bdc-079d-4cee-a990-4411351f7f9c" providerId="ADAL" clId="{DD93C774-82BE-4DBD-AB5E-BA44CCD0E829}" dt="2023-08-31T09:03:08.755" v="12891"/>
          <ac:spMkLst>
            <pc:docMk/>
            <pc:sldMk cId="3793799286" sldId="309"/>
            <ac:spMk id="77" creationId="{EEABD634-B07E-0144-AF22-426C44CA58AA}"/>
          </ac:spMkLst>
        </pc:spChg>
        <pc:spChg chg="add del mod modVis">
          <ac:chgData name="Lim, Sharon" userId="9ed40bdc-079d-4cee-a990-4411351f7f9c" providerId="ADAL" clId="{DD93C774-82BE-4DBD-AB5E-BA44CCD0E829}" dt="2023-08-31T09:03:12.925" v="12969"/>
          <ac:spMkLst>
            <pc:docMk/>
            <pc:sldMk cId="3793799286" sldId="309"/>
            <ac:spMk id="79" creationId="{42C85CAE-1DBA-CBB3-4B81-EF40E821F911}"/>
          </ac:spMkLst>
        </pc:spChg>
        <pc:spChg chg="add del mod modVis">
          <ac:chgData name="Lim, Sharon" userId="9ed40bdc-079d-4cee-a990-4411351f7f9c" providerId="ADAL" clId="{DD93C774-82BE-4DBD-AB5E-BA44CCD0E829}" dt="2023-08-31T09:03:40.357" v="13043"/>
          <ac:spMkLst>
            <pc:docMk/>
            <pc:sldMk cId="3793799286" sldId="309"/>
            <ac:spMk id="81" creationId="{A9865DA6-B4EC-6740-E77A-3CD8A3BC267B}"/>
          </ac:spMkLst>
        </pc:spChg>
        <pc:spChg chg="add del mod modVis">
          <ac:chgData name="Lim, Sharon" userId="9ed40bdc-079d-4cee-a990-4411351f7f9c" providerId="ADAL" clId="{DD93C774-82BE-4DBD-AB5E-BA44CCD0E829}" dt="2023-08-31T09:03:53.601" v="13118"/>
          <ac:spMkLst>
            <pc:docMk/>
            <pc:sldMk cId="3793799286" sldId="309"/>
            <ac:spMk id="83" creationId="{3BD4D2C1-4D68-55FB-9B66-E2BC615E6409}"/>
          </ac:spMkLst>
        </pc:spChg>
        <pc:spChg chg="add del mod modVis">
          <ac:chgData name="Lim, Sharon" userId="9ed40bdc-079d-4cee-a990-4411351f7f9c" providerId="ADAL" clId="{DD93C774-82BE-4DBD-AB5E-BA44CCD0E829}" dt="2023-08-31T09:04:06.801" v="13193"/>
          <ac:spMkLst>
            <pc:docMk/>
            <pc:sldMk cId="3793799286" sldId="309"/>
            <ac:spMk id="85" creationId="{708D607D-5EA1-464A-59F4-D00343F19F9C}"/>
          </ac:spMkLst>
        </pc:spChg>
        <pc:spChg chg="add del mod modVis">
          <ac:chgData name="Lim, Sharon" userId="9ed40bdc-079d-4cee-a990-4411351f7f9c" providerId="ADAL" clId="{DD93C774-82BE-4DBD-AB5E-BA44CCD0E829}" dt="2023-08-31T09:04:10.878" v="13288"/>
          <ac:spMkLst>
            <pc:docMk/>
            <pc:sldMk cId="3793799286" sldId="309"/>
            <ac:spMk id="87" creationId="{B71B364D-9DB0-1CBD-1611-AFDB123CC83D}"/>
          </ac:spMkLst>
        </pc:spChg>
        <pc:spChg chg="add del mod modVis">
          <ac:chgData name="Lim, Sharon" userId="9ed40bdc-079d-4cee-a990-4411351f7f9c" providerId="ADAL" clId="{DD93C774-82BE-4DBD-AB5E-BA44CCD0E829}" dt="2023-08-31T09:04:13.946" v="13361"/>
          <ac:spMkLst>
            <pc:docMk/>
            <pc:sldMk cId="3793799286" sldId="309"/>
            <ac:spMk id="89" creationId="{948C5164-9410-6934-58D9-6FD4DD09055A}"/>
          </ac:spMkLst>
        </pc:spChg>
        <pc:spChg chg="add del mod modVis">
          <ac:chgData name="Lim, Sharon" userId="9ed40bdc-079d-4cee-a990-4411351f7f9c" providerId="ADAL" clId="{DD93C774-82BE-4DBD-AB5E-BA44CCD0E829}" dt="2023-08-31T09:04:26.298" v="13630"/>
          <ac:spMkLst>
            <pc:docMk/>
            <pc:sldMk cId="3793799286" sldId="309"/>
            <ac:spMk id="91" creationId="{CC526326-34D8-4346-183E-B727FCAC8845}"/>
          </ac:spMkLst>
        </pc:spChg>
        <pc:spChg chg="add del mod ord replST">
          <ac:chgData name="Lim, Sharon" userId="9ed40bdc-079d-4cee-a990-4411351f7f9c" providerId="ADAL" clId="{DD93C774-82BE-4DBD-AB5E-BA44CCD0E829}" dt="2023-08-31T09:06:35.135" v="19103"/>
          <ac:spMkLst>
            <pc:docMk/>
            <pc:sldMk cId="3793799286" sldId="309"/>
            <ac:spMk id="92" creationId="{157E2803-2BF7-ABD7-C482-D7A3AD0399C5}"/>
          </ac:spMkLst>
        </pc:spChg>
        <pc:spChg chg="add del mod ord replST">
          <ac:chgData name="Lim, Sharon" userId="9ed40bdc-079d-4cee-a990-4411351f7f9c" providerId="ADAL" clId="{DD93C774-82BE-4DBD-AB5E-BA44CCD0E829}" dt="2023-08-31T09:05:06.284" v="14643"/>
          <ac:spMkLst>
            <pc:docMk/>
            <pc:sldMk cId="3793799286" sldId="309"/>
            <ac:spMk id="93" creationId="{157E2803-2BF7-ABD7-C482-D7A3AD0399C5}"/>
          </ac:spMkLst>
        </pc:spChg>
        <pc:spChg chg="add del mod ord replST">
          <ac:chgData name="Lim, Sharon" userId="9ed40bdc-079d-4cee-a990-4411351f7f9c" providerId="ADAL" clId="{DD93C774-82BE-4DBD-AB5E-BA44CCD0E829}" dt="2023-08-31T09:06:35.159" v="19117"/>
          <ac:spMkLst>
            <pc:docMk/>
            <pc:sldMk cId="3793799286" sldId="309"/>
            <ac:spMk id="94" creationId="{157E2803-2BF7-ABD7-C482-D7A3AD0399C5}"/>
          </ac:spMkLst>
        </pc:spChg>
        <pc:spChg chg="add del mod modVis">
          <ac:chgData name="Lim, Sharon" userId="9ed40bdc-079d-4cee-a990-4411351f7f9c" providerId="ADAL" clId="{DD93C774-82BE-4DBD-AB5E-BA44CCD0E829}" dt="2023-08-31T09:04:39.033" v="13830"/>
          <ac:spMkLst>
            <pc:docMk/>
            <pc:sldMk cId="3793799286" sldId="309"/>
            <ac:spMk id="96" creationId="{448C9F5B-720E-FD20-6525-10C09691CB6E}"/>
          </ac:spMkLst>
        </pc:spChg>
        <pc:spChg chg="add del mod modVis">
          <ac:chgData name="Lim, Sharon" userId="9ed40bdc-079d-4cee-a990-4411351f7f9c" providerId="ADAL" clId="{DD93C774-82BE-4DBD-AB5E-BA44CCD0E829}" dt="2023-08-31T09:04:51.616" v="13932"/>
          <ac:spMkLst>
            <pc:docMk/>
            <pc:sldMk cId="3793799286" sldId="309"/>
            <ac:spMk id="105" creationId="{1A0C6308-962E-C8B6-F419-F4E99E7F90B4}"/>
          </ac:spMkLst>
        </pc:spChg>
        <pc:spChg chg="add del mod modVis">
          <ac:chgData name="Lim, Sharon" userId="9ed40bdc-079d-4cee-a990-4411351f7f9c" providerId="ADAL" clId="{DD93C774-82BE-4DBD-AB5E-BA44CCD0E829}" dt="2023-08-31T09:04:53.816" v="14027"/>
          <ac:spMkLst>
            <pc:docMk/>
            <pc:sldMk cId="3793799286" sldId="309"/>
            <ac:spMk id="107" creationId="{1AA4A629-A4AC-2096-45A3-BD502A381D53}"/>
          </ac:spMkLst>
        </pc:spChg>
        <pc:spChg chg="add del mod modVis">
          <ac:chgData name="Lim, Sharon" userId="9ed40bdc-079d-4cee-a990-4411351f7f9c" providerId="ADAL" clId="{DD93C774-82BE-4DBD-AB5E-BA44CCD0E829}" dt="2023-08-31T09:04:55.832" v="14122"/>
          <ac:spMkLst>
            <pc:docMk/>
            <pc:sldMk cId="3793799286" sldId="309"/>
            <ac:spMk id="109" creationId="{BECCDE2F-B168-2184-0B16-E87E65BF3247}"/>
          </ac:spMkLst>
        </pc:spChg>
        <pc:spChg chg="add del mod modVis">
          <ac:chgData name="Lim, Sharon" userId="9ed40bdc-079d-4cee-a990-4411351f7f9c" providerId="ADAL" clId="{DD93C774-82BE-4DBD-AB5E-BA44CCD0E829}" dt="2023-08-31T09:05:00.190" v="14447"/>
          <ac:spMkLst>
            <pc:docMk/>
            <pc:sldMk cId="3793799286" sldId="309"/>
            <ac:spMk id="111" creationId="{3464D79D-0DD9-FAEB-DC40-EB9A9D709CB6}"/>
          </ac:spMkLst>
        </pc:spChg>
        <pc:spChg chg="add del mod modVis">
          <ac:chgData name="Lim, Sharon" userId="9ed40bdc-079d-4cee-a990-4411351f7f9c" providerId="ADAL" clId="{DD93C774-82BE-4DBD-AB5E-BA44CCD0E829}" dt="2023-08-31T09:05:04.197" v="14542"/>
          <ac:spMkLst>
            <pc:docMk/>
            <pc:sldMk cId="3793799286" sldId="309"/>
            <ac:spMk id="113" creationId="{0E5AB98B-0F56-3923-E718-C16A73D191D0}"/>
          </ac:spMkLst>
        </pc:spChg>
        <pc:spChg chg="add del mod modVis">
          <ac:chgData name="Lim, Sharon" userId="9ed40bdc-079d-4cee-a990-4411351f7f9c" providerId="ADAL" clId="{DD93C774-82BE-4DBD-AB5E-BA44CCD0E829}" dt="2023-08-31T09:05:06.351" v="14713"/>
          <ac:spMkLst>
            <pc:docMk/>
            <pc:sldMk cId="3793799286" sldId="309"/>
            <ac:spMk id="115" creationId="{6EF0DE91-D932-BB85-1AEE-C8495FF83A83}"/>
          </ac:spMkLst>
        </pc:spChg>
        <pc:spChg chg="add del mod modVis">
          <ac:chgData name="Lim, Sharon" userId="9ed40bdc-079d-4cee-a990-4411351f7f9c" providerId="ADAL" clId="{DD93C774-82BE-4DBD-AB5E-BA44CCD0E829}" dt="2023-08-31T09:05:42.362" v="14954"/>
          <ac:spMkLst>
            <pc:docMk/>
            <pc:sldMk cId="3793799286" sldId="309"/>
            <ac:spMk id="117" creationId="{1D135365-AC50-4070-A0F0-2C8395558B23}"/>
          </ac:spMkLst>
        </pc:spChg>
        <pc:spChg chg="add del mod modVis">
          <ac:chgData name="Lim, Sharon" userId="9ed40bdc-079d-4cee-a990-4411351f7f9c" providerId="ADAL" clId="{DD93C774-82BE-4DBD-AB5E-BA44CCD0E829}" dt="2023-08-31T09:05:52.124" v="15265"/>
          <ac:spMkLst>
            <pc:docMk/>
            <pc:sldMk cId="3793799286" sldId="309"/>
            <ac:spMk id="119" creationId="{698990D2-8483-B81D-7A17-7AB1C2EA55FA}"/>
          </ac:spMkLst>
        </pc:spChg>
        <pc:spChg chg="add del mod modVis">
          <ac:chgData name="Lim, Sharon" userId="9ed40bdc-079d-4cee-a990-4411351f7f9c" providerId="ADAL" clId="{DD93C774-82BE-4DBD-AB5E-BA44CCD0E829}" dt="2023-08-31T09:05:56.204" v="15553"/>
          <ac:spMkLst>
            <pc:docMk/>
            <pc:sldMk cId="3793799286" sldId="309"/>
            <ac:spMk id="121" creationId="{FA89CB59-220D-9AE7-ABFA-E748DCCAF0B2}"/>
          </ac:spMkLst>
        </pc:spChg>
        <pc:spChg chg="add del mod modVis">
          <ac:chgData name="Lim, Sharon" userId="9ed40bdc-079d-4cee-a990-4411351f7f9c" providerId="ADAL" clId="{DD93C774-82BE-4DBD-AB5E-BA44CCD0E829}" dt="2023-08-31T09:06:00.523" v="16113"/>
          <ac:spMkLst>
            <pc:docMk/>
            <pc:sldMk cId="3793799286" sldId="309"/>
            <ac:spMk id="123" creationId="{0A0B28D3-434A-E307-BB63-F0EA8E8D4833}"/>
          </ac:spMkLst>
        </pc:spChg>
        <pc:spChg chg="add del mod replST">
          <ac:chgData name="Lim, Sharon" userId="9ed40bdc-079d-4cee-a990-4411351f7f9c" providerId="ADAL" clId="{DD93C774-82BE-4DBD-AB5E-BA44CCD0E829}" dt="2023-08-31T09:06:02.127" v="16164"/>
          <ac:spMkLst>
            <pc:docMk/>
            <pc:sldMk cId="3793799286" sldId="309"/>
            <ac:spMk id="124" creationId="{157E2803-2BF7-ABD7-C482-D7A3AD0399C5}"/>
          </ac:spMkLst>
        </pc:spChg>
        <pc:spChg chg="add del mod replST">
          <ac:chgData name="Lim, Sharon" userId="9ed40bdc-079d-4cee-a990-4411351f7f9c" providerId="ADAL" clId="{DD93C774-82BE-4DBD-AB5E-BA44CCD0E829}" dt="2023-08-31T09:06:02.131" v="16165"/>
          <ac:spMkLst>
            <pc:docMk/>
            <pc:sldMk cId="3793799286" sldId="309"/>
            <ac:spMk id="125" creationId="{157E2803-2BF7-ABD7-C482-D7A3AD0399C5}"/>
          </ac:spMkLst>
        </pc:spChg>
        <pc:spChg chg="add del mod replST">
          <ac:chgData name="Lim, Sharon" userId="9ed40bdc-079d-4cee-a990-4411351f7f9c" providerId="ADAL" clId="{DD93C774-82BE-4DBD-AB5E-BA44CCD0E829}" dt="2023-08-31T09:06:02.132" v="16166"/>
          <ac:spMkLst>
            <pc:docMk/>
            <pc:sldMk cId="3793799286" sldId="309"/>
            <ac:spMk id="126" creationId="{157E2803-2BF7-ABD7-C482-D7A3AD0399C5}"/>
          </ac:spMkLst>
        </pc:spChg>
        <pc:spChg chg="add del mod replST">
          <ac:chgData name="Lim, Sharon" userId="9ed40bdc-079d-4cee-a990-4411351f7f9c" providerId="ADAL" clId="{DD93C774-82BE-4DBD-AB5E-BA44CCD0E829}" dt="2023-08-31T09:06:02.132" v="16167"/>
          <ac:spMkLst>
            <pc:docMk/>
            <pc:sldMk cId="3793799286" sldId="309"/>
            <ac:spMk id="127" creationId="{157E2803-2BF7-ABD7-C482-D7A3AD0399C5}"/>
          </ac:spMkLst>
        </pc:spChg>
        <pc:spChg chg="add del mod replST">
          <ac:chgData name="Lim, Sharon" userId="9ed40bdc-079d-4cee-a990-4411351f7f9c" providerId="ADAL" clId="{DD93C774-82BE-4DBD-AB5E-BA44CCD0E829}" dt="2023-08-31T09:06:02.134" v="16168"/>
          <ac:spMkLst>
            <pc:docMk/>
            <pc:sldMk cId="3793799286" sldId="309"/>
            <ac:spMk id="128" creationId="{157E2803-2BF7-ABD7-C482-D7A3AD0399C5}"/>
          </ac:spMkLst>
        </pc:spChg>
        <pc:spChg chg="add del mod replST">
          <ac:chgData name="Lim, Sharon" userId="9ed40bdc-079d-4cee-a990-4411351f7f9c" providerId="ADAL" clId="{DD93C774-82BE-4DBD-AB5E-BA44CCD0E829}" dt="2023-08-31T09:06:02.136" v="16169"/>
          <ac:spMkLst>
            <pc:docMk/>
            <pc:sldMk cId="3793799286" sldId="309"/>
            <ac:spMk id="129" creationId="{157E2803-2BF7-ABD7-C482-D7A3AD0399C5}"/>
          </ac:spMkLst>
        </pc:spChg>
        <pc:spChg chg="add del mod replST">
          <ac:chgData name="Lim, Sharon" userId="9ed40bdc-079d-4cee-a990-4411351f7f9c" providerId="ADAL" clId="{DD93C774-82BE-4DBD-AB5E-BA44CCD0E829}" dt="2023-08-31T09:06:02.137" v="16170"/>
          <ac:spMkLst>
            <pc:docMk/>
            <pc:sldMk cId="3793799286" sldId="309"/>
            <ac:spMk id="130" creationId="{157E2803-2BF7-ABD7-C482-D7A3AD0399C5}"/>
          </ac:spMkLst>
        </pc:spChg>
        <pc:spChg chg="add del mod replST">
          <ac:chgData name="Lim, Sharon" userId="9ed40bdc-079d-4cee-a990-4411351f7f9c" providerId="ADAL" clId="{DD93C774-82BE-4DBD-AB5E-BA44CCD0E829}" dt="2023-08-31T09:06:02.138" v="16171"/>
          <ac:spMkLst>
            <pc:docMk/>
            <pc:sldMk cId="3793799286" sldId="309"/>
            <ac:spMk id="131" creationId="{157E2803-2BF7-ABD7-C482-D7A3AD0399C5}"/>
          </ac:spMkLst>
        </pc:spChg>
        <pc:spChg chg="add del mod modVis">
          <ac:chgData name="Lim, Sharon" userId="9ed40bdc-079d-4cee-a990-4411351f7f9c" providerId="ADAL" clId="{DD93C774-82BE-4DBD-AB5E-BA44CCD0E829}" dt="2023-08-31T09:06:02.260" v="16221"/>
          <ac:spMkLst>
            <pc:docMk/>
            <pc:sldMk cId="3793799286" sldId="309"/>
            <ac:spMk id="133" creationId="{ACD5DBF8-79D7-3BFC-175B-80E4EBFBB356}"/>
          </ac:spMkLst>
        </pc:spChg>
        <pc:spChg chg="add del mod modVis">
          <ac:chgData name="Lim, Sharon" userId="9ed40bdc-079d-4cee-a990-4411351f7f9c" providerId="ADAL" clId="{DD93C774-82BE-4DBD-AB5E-BA44CCD0E829}" dt="2023-08-31T09:06:05.187" v="16781"/>
          <ac:spMkLst>
            <pc:docMk/>
            <pc:sldMk cId="3793799286" sldId="309"/>
            <ac:spMk id="135" creationId="{79402D6B-9C0E-D041-A79D-5A5424A893C8}"/>
          </ac:spMkLst>
        </pc:spChg>
        <pc:spChg chg="add del mod replST">
          <ac:chgData name="Lim, Sharon" userId="9ed40bdc-079d-4cee-a990-4411351f7f9c" providerId="ADAL" clId="{DD93C774-82BE-4DBD-AB5E-BA44CCD0E829}" dt="2023-08-31T09:06:06.274" v="16832"/>
          <ac:spMkLst>
            <pc:docMk/>
            <pc:sldMk cId="3793799286" sldId="309"/>
            <ac:spMk id="136" creationId="{157E2803-2BF7-ABD7-C482-D7A3AD0399C5}"/>
          </ac:spMkLst>
        </pc:spChg>
        <pc:spChg chg="add del mod replST">
          <ac:chgData name="Lim, Sharon" userId="9ed40bdc-079d-4cee-a990-4411351f7f9c" providerId="ADAL" clId="{DD93C774-82BE-4DBD-AB5E-BA44CCD0E829}" dt="2023-08-31T09:06:06.276" v="16833"/>
          <ac:spMkLst>
            <pc:docMk/>
            <pc:sldMk cId="3793799286" sldId="309"/>
            <ac:spMk id="137" creationId="{157E2803-2BF7-ABD7-C482-D7A3AD0399C5}"/>
          </ac:spMkLst>
        </pc:spChg>
        <pc:spChg chg="add del mod replST">
          <ac:chgData name="Lim, Sharon" userId="9ed40bdc-079d-4cee-a990-4411351f7f9c" providerId="ADAL" clId="{DD93C774-82BE-4DBD-AB5E-BA44CCD0E829}" dt="2023-08-31T09:06:06.277" v="16834"/>
          <ac:spMkLst>
            <pc:docMk/>
            <pc:sldMk cId="3793799286" sldId="309"/>
            <ac:spMk id="138" creationId="{157E2803-2BF7-ABD7-C482-D7A3AD0399C5}"/>
          </ac:spMkLst>
        </pc:spChg>
        <pc:spChg chg="add del mod replST">
          <ac:chgData name="Lim, Sharon" userId="9ed40bdc-079d-4cee-a990-4411351f7f9c" providerId="ADAL" clId="{DD93C774-82BE-4DBD-AB5E-BA44CCD0E829}" dt="2023-08-31T09:06:06.278" v="16835"/>
          <ac:spMkLst>
            <pc:docMk/>
            <pc:sldMk cId="3793799286" sldId="309"/>
            <ac:spMk id="139" creationId="{157E2803-2BF7-ABD7-C482-D7A3AD0399C5}"/>
          </ac:spMkLst>
        </pc:spChg>
        <pc:spChg chg="add del mod replST">
          <ac:chgData name="Lim, Sharon" userId="9ed40bdc-079d-4cee-a990-4411351f7f9c" providerId="ADAL" clId="{DD93C774-82BE-4DBD-AB5E-BA44CCD0E829}" dt="2023-08-31T09:06:06.279" v="16836"/>
          <ac:spMkLst>
            <pc:docMk/>
            <pc:sldMk cId="3793799286" sldId="309"/>
            <ac:spMk id="140" creationId="{157E2803-2BF7-ABD7-C482-D7A3AD0399C5}"/>
          </ac:spMkLst>
        </pc:spChg>
        <pc:spChg chg="add del mod replST">
          <ac:chgData name="Lim, Sharon" userId="9ed40bdc-079d-4cee-a990-4411351f7f9c" providerId="ADAL" clId="{DD93C774-82BE-4DBD-AB5E-BA44CCD0E829}" dt="2023-08-31T09:06:06.280" v="16837"/>
          <ac:spMkLst>
            <pc:docMk/>
            <pc:sldMk cId="3793799286" sldId="309"/>
            <ac:spMk id="141" creationId="{157E2803-2BF7-ABD7-C482-D7A3AD0399C5}"/>
          </ac:spMkLst>
        </pc:spChg>
        <pc:spChg chg="add del mod replST">
          <ac:chgData name="Lim, Sharon" userId="9ed40bdc-079d-4cee-a990-4411351f7f9c" providerId="ADAL" clId="{DD93C774-82BE-4DBD-AB5E-BA44CCD0E829}" dt="2023-08-31T09:06:06.281" v="16838"/>
          <ac:spMkLst>
            <pc:docMk/>
            <pc:sldMk cId="3793799286" sldId="309"/>
            <ac:spMk id="142" creationId="{157E2803-2BF7-ABD7-C482-D7A3AD0399C5}"/>
          </ac:spMkLst>
        </pc:spChg>
        <pc:spChg chg="add del mod replST">
          <ac:chgData name="Lim, Sharon" userId="9ed40bdc-079d-4cee-a990-4411351f7f9c" providerId="ADAL" clId="{DD93C774-82BE-4DBD-AB5E-BA44CCD0E829}" dt="2023-08-31T09:06:06.283" v="16839"/>
          <ac:spMkLst>
            <pc:docMk/>
            <pc:sldMk cId="3793799286" sldId="309"/>
            <ac:spMk id="143" creationId="{157E2803-2BF7-ABD7-C482-D7A3AD0399C5}"/>
          </ac:spMkLst>
        </pc:spChg>
        <pc:spChg chg="add del mod modVis">
          <ac:chgData name="Lim, Sharon" userId="9ed40bdc-079d-4cee-a990-4411351f7f9c" providerId="ADAL" clId="{DD93C774-82BE-4DBD-AB5E-BA44CCD0E829}" dt="2023-08-31T09:06:06.388" v="16889"/>
          <ac:spMkLst>
            <pc:docMk/>
            <pc:sldMk cId="3793799286" sldId="309"/>
            <ac:spMk id="145" creationId="{167A5E7B-F48F-13AA-52D3-63B59A4C7D07}"/>
          </ac:spMkLst>
        </pc:spChg>
        <pc:spChg chg="add del mod modVis">
          <ac:chgData name="Lim, Sharon" userId="9ed40bdc-079d-4cee-a990-4411351f7f9c" providerId="ADAL" clId="{DD93C774-82BE-4DBD-AB5E-BA44CCD0E829}" dt="2023-08-31T09:06:21.530" v="17852"/>
          <ac:spMkLst>
            <pc:docMk/>
            <pc:sldMk cId="3793799286" sldId="309"/>
            <ac:spMk id="147" creationId="{A5705A63-ABA4-FF15-BC7D-A4A34FF1BFA6}"/>
          </ac:spMkLst>
        </pc:spChg>
        <pc:spChg chg="add mod ord replST delST">
          <ac:chgData name="Lim, Sharon" userId="9ed40bdc-079d-4cee-a990-4411351f7f9c" providerId="ADAL" clId="{DD93C774-82BE-4DBD-AB5E-BA44CCD0E829}" dt="2023-08-31T09:06:21.530" v="17852"/>
          <ac:spMkLst>
            <pc:docMk/>
            <pc:sldMk cId="3793799286" sldId="309"/>
            <ac:spMk id="148" creationId="{157E2803-2BF7-ABD7-C482-D7A3AD0399C5}"/>
          </ac:spMkLst>
        </pc:spChg>
        <pc:spChg chg="add mod ord replST delST">
          <ac:chgData name="Lim, Sharon" userId="9ed40bdc-079d-4cee-a990-4411351f7f9c" providerId="ADAL" clId="{DD93C774-82BE-4DBD-AB5E-BA44CCD0E829}" dt="2023-08-31T09:06:21.530" v="17852"/>
          <ac:spMkLst>
            <pc:docMk/>
            <pc:sldMk cId="3793799286" sldId="309"/>
            <ac:spMk id="149" creationId="{157E2803-2BF7-ABD7-C482-D7A3AD0399C5}"/>
          </ac:spMkLst>
        </pc:spChg>
        <pc:spChg chg="add mod ord replST delST">
          <ac:chgData name="Lim, Sharon" userId="9ed40bdc-079d-4cee-a990-4411351f7f9c" providerId="ADAL" clId="{DD93C774-82BE-4DBD-AB5E-BA44CCD0E829}" dt="2023-08-31T09:06:21.530" v="17852"/>
          <ac:spMkLst>
            <pc:docMk/>
            <pc:sldMk cId="3793799286" sldId="309"/>
            <ac:spMk id="150" creationId="{157E2803-2BF7-ABD7-C482-D7A3AD0399C5}"/>
          </ac:spMkLst>
        </pc:spChg>
        <pc:spChg chg="add del mod modVis">
          <ac:chgData name="Lim, Sharon" userId="9ed40bdc-079d-4cee-a990-4411351f7f9c" providerId="ADAL" clId="{DD93C774-82BE-4DBD-AB5E-BA44CCD0E829}" dt="2023-08-31T09:06:24.514" v="18532"/>
          <ac:spMkLst>
            <pc:docMk/>
            <pc:sldMk cId="3793799286" sldId="309"/>
            <ac:spMk id="166" creationId="{926E874F-DB1F-8945-6011-92139F1B4CD5}"/>
          </ac:spMkLst>
        </pc:spChg>
        <pc:spChg chg="add del mod replST">
          <ac:chgData name="Lim, Sharon" userId="9ed40bdc-079d-4cee-a990-4411351f7f9c" providerId="ADAL" clId="{DD93C774-82BE-4DBD-AB5E-BA44CCD0E829}" dt="2023-08-31T09:06:25.651" v="18583"/>
          <ac:spMkLst>
            <pc:docMk/>
            <pc:sldMk cId="3793799286" sldId="309"/>
            <ac:spMk id="167" creationId="{157E2803-2BF7-ABD7-C482-D7A3AD0399C5}"/>
          </ac:spMkLst>
        </pc:spChg>
        <pc:spChg chg="add del mod replST">
          <ac:chgData name="Lim, Sharon" userId="9ed40bdc-079d-4cee-a990-4411351f7f9c" providerId="ADAL" clId="{DD93C774-82BE-4DBD-AB5E-BA44CCD0E829}" dt="2023-08-31T09:06:25.651" v="18584"/>
          <ac:spMkLst>
            <pc:docMk/>
            <pc:sldMk cId="3793799286" sldId="309"/>
            <ac:spMk id="168" creationId="{157E2803-2BF7-ABD7-C482-D7A3AD0399C5}"/>
          </ac:spMkLst>
        </pc:spChg>
        <pc:spChg chg="add del mod replST">
          <ac:chgData name="Lim, Sharon" userId="9ed40bdc-079d-4cee-a990-4411351f7f9c" providerId="ADAL" clId="{DD93C774-82BE-4DBD-AB5E-BA44CCD0E829}" dt="2023-08-31T09:06:25.653" v="18585"/>
          <ac:spMkLst>
            <pc:docMk/>
            <pc:sldMk cId="3793799286" sldId="309"/>
            <ac:spMk id="169" creationId="{157E2803-2BF7-ABD7-C482-D7A3AD0399C5}"/>
          </ac:spMkLst>
        </pc:spChg>
        <pc:spChg chg="add del mod replST">
          <ac:chgData name="Lim, Sharon" userId="9ed40bdc-079d-4cee-a990-4411351f7f9c" providerId="ADAL" clId="{DD93C774-82BE-4DBD-AB5E-BA44CCD0E829}" dt="2023-08-31T09:06:25.653" v="18586"/>
          <ac:spMkLst>
            <pc:docMk/>
            <pc:sldMk cId="3793799286" sldId="309"/>
            <ac:spMk id="170" creationId="{157E2803-2BF7-ABD7-C482-D7A3AD0399C5}"/>
          </ac:spMkLst>
        </pc:spChg>
        <pc:spChg chg="add del mod replST">
          <ac:chgData name="Lim, Sharon" userId="9ed40bdc-079d-4cee-a990-4411351f7f9c" providerId="ADAL" clId="{DD93C774-82BE-4DBD-AB5E-BA44CCD0E829}" dt="2023-08-31T09:06:25.653" v="18587"/>
          <ac:spMkLst>
            <pc:docMk/>
            <pc:sldMk cId="3793799286" sldId="309"/>
            <ac:spMk id="171" creationId="{157E2803-2BF7-ABD7-C482-D7A3AD0399C5}"/>
          </ac:spMkLst>
        </pc:spChg>
        <pc:spChg chg="add del mod replST">
          <ac:chgData name="Lim, Sharon" userId="9ed40bdc-079d-4cee-a990-4411351f7f9c" providerId="ADAL" clId="{DD93C774-82BE-4DBD-AB5E-BA44CCD0E829}" dt="2023-08-31T09:06:25.654" v="18588"/>
          <ac:spMkLst>
            <pc:docMk/>
            <pc:sldMk cId="3793799286" sldId="309"/>
            <ac:spMk id="172" creationId="{157E2803-2BF7-ABD7-C482-D7A3AD0399C5}"/>
          </ac:spMkLst>
        </pc:spChg>
        <pc:spChg chg="add del mod replST">
          <ac:chgData name="Lim, Sharon" userId="9ed40bdc-079d-4cee-a990-4411351f7f9c" providerId="ADAL" clId="{DD93C774-82BE-4DBD-AB5E-BA44CCD0E829}" dt="2023-08-31T09:06:25.656" v="18589"/>
          <ac:spMkLst>
            <pc:docMk/>
            <pc:sldMk cId="3793799286" sldId="309"/>
            <ac:spMk id="173" creationId="{157E2803-2BF7-ABD7-C482-D7A3AD0399C5}"/>
          </ac:spMkLst>
        </pc:spChg>
        <pc:spChg chg="add del mod replST">
          <ac:chgData name="Lim, Sharon" userId="9ed40bdc-079d-4cee-a990-4411351f7f9c" providerId="ADAL" clId="{DD93C774-82BE-4DBD-AB5E-BA44CCD0E829}" dt="2023-08-31T09:06:25.656" v="18590"/>
          <ac:spMkLst>
            <pc:docMk/>
            <pc:sldMk cId="3793799286" sldId="309"/>
            <ac:spMk id="174" creationId="{157E2803-2BF7-ABD7-C482-D7A3AD0399C5}"/>
          </ac:spMkLst>
        </pc:spChg>
        <pc:spChg chg="add del mod modVis">
          <ac:chgData name="Lim, Sharon" userId="9ed40bdc-079d-4cee-a990-4411351f7f9c" providerId="ADAL" clId="{DD93C774-82BE-4DBD-AB5E-BA44CCD0E829}" dt="2023-08-31T09:06:25.740" v="18640"/>
          <ac:spMkLst>
            <pc:docMk/>
            <pc:sldMk cId="3793799286" sldId="309"/>
            <ac:spMk id="176" creationId="{1BC5A6AE-FA6F-E41B-AC75-F655F0C37E12}"/>
          </ac:spMkLst>
        </pc:spChg>
        <pc:spChg chg="add del mod modVis">
          <ac:chgData name="Lim, Sharon" userId="9ed40bdc-079d-4cee-a990-4411351f7f9c" providerId="ADAL" clId="{DD93C774-82BE-4DBD-AB5E-BA44CCD0E829}" dt="2023-08-31T09:06:35.309" v="19217"/>
          <ac:spMkLst>
            <pc:docMk/>
            <pc:sldMk cId="3793799286" sldId="309"/>
            <ac:spMk id="178" creationId="{C4482013-64B5-3236-F5A0-4043CA36CA1E}"/>
          </ac:spMkLst>
        </pc:spChg>
        <pc:spChg chg="add mod ord replST">
          <ac:chgData name="Lim, Sharon" userId="9ed40bdc-079d-4cee-a990-4411351f7f9c" providerId="ADAL" clId="{DD93C774-82BE-4DBD-AB5E-BA44CCD0E829}" dt="2023-08-31T09:24:54.517" v="28228"/>
          <ac:spMkLst>
            <pc:docMk/>
            <pc:sldMk cId="3793799286" sldId="309"/>
            <ac:spMk id="179" creationId="{157E2803-2BF7-ABD7-C482-D7A3AD0399C5}"/>
          </ac:spMkLst>
        </pc:spChg>
        <pc:spChg chg="add del mod ord replST">
          <ac:chgData name="Lim, Sharon" userId="9ed40bdc-079d-4cee-a990-4411351f7f9c" providerId="ADAL" clId="{DD93C774-82BE-4DBD-AB5E-BA44CCD0E829}" dt="2023-08-31T09:07:33.975" v="25617"/>
          <ac:spMkLst>
            <pc:docMk/>
            <pc:sldMk cId="3793799286" sldId="309"/>
            <ac:spMk id="180" creationId="{157E2803-2BF7-ABD7-C482-D7A3AD0399C5}"/>
          </ac:spMkLst>
        </pc:spChg>
        <pc:spChg chg="add mod ord replST">
          <ac:chgData name="Lim, Sharon" userId="9ed40bdc-079d-4cee-a990-4411351f7f9c" providerId="ADAL" clId="{DD93C774-82BE-4DBD-AB5E-BA44CCD0E829}" dt="2023-08-31T09:24:54.517" v="28230"/>
          <ac:spMkLst>
            <pc:docMk/>
            <pc:sldMk cId="3793799286" sldId="309"/>
            <ac:spMk id="181" creationId="{157E2803-2BF7-ABD7-C482-D7A3AD0399C5}"/>
          </ac:spMkLst>
        </pc:spChg>
        <pc:spChg chg="add del mod modVis">
          <ac:chgData name="Lim, Sharon" userId="9ed40bdc-079d-4cee-a990-4411351f7f9c" providerId="ADAL" clId="{DD93C774-82BE-4DBD-AB5E-BA44CCD0E829}" dt="2023-08-31T09:06:53.524" v="21044"/>
          <ac:spMkLst>
            <pc:docMk/>
            <pc:sldMk cId="3793799286" sldId="309"/>
            <ac:spMk id="197" creationId="{5B342F77-77C4-239F-62BB-5343258883B1}"/>
          </ac:spMkLst>
        </pc:spChg>
        <pc:spChg chg="add mod replST delST">
          <ac:chgData name="Lim, Sharon" userId="9ed40bdc-079d-4cee-a990-4411351f7f9c" providerId="ADAL" clId="{DD93C774-82BE-4DBD-AB5E-BA44CCD0E829}" dt="2023-08-31T09:06:53.524" v="21044"/>
          <ac:spMkLst>
            <pc:docMk/>
            <pc:sldMk cId="3793799286" sldId="309"/>
            <ac:spMk id="198"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199"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0"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1"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2"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3"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4"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5"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6"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7"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8"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09"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10"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11"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12"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13" creationId="{157E2803-2BF7-ABD7-C482-D7A3AD0399C5}"/>
          </ac:spMkLst>
        </pc:spChg>
        <pc:spChg chg="add mod replST delST">
          <ac:chgData name="Lim, Sharon" userId="9ed40bdc-079d-4cee-a990-4411351f7f9c" providerId="ADAL" clId="{DD93C774-82BE-4DBD-AB5E-BA44CCD0E829}" dt="2023-08-31T09:06:53.524" v="21044"/>
          <ac:spMkLst>
            <pc:docMk/>
            <pc:sldMk cId="3793799286" sldId="309"/>
            <ac:spMk id="214" creationId="{157E2803-2BF7-ABD7-C482-D7A3AD0399C5}"/>
          </ac:spMkLst>
        </pc:spChg>
        <pc:spChg chg="add del mod modVis">
          <ac:chgData name="Lim, Sharon" userId="9ed40bdc-079d-4cee-a990-4411351f7f9c" providerId="ADAL" clId="{DD93C774-82BE-4DBD-AB5E-BA44CCD0E829}" dt="2023-08-31T09:07:07.687" v="22339"/>
          <ac:spMkLst>
            <pc:docMk/>
            <pc:sldMk cId="3793799286" sldId="309"/>
            <ac:spMk id="216" creationId="{3F22CC1A-8E01-61FD-5A3E-AB748311486A}"/>
          </ac:spMkLst>
        </pc:spChg>
        <pc:spChg chg="add del mod replST">
          <ac:chgData name="Lim, Sharon" userId="9ed40bdc-079d-4cee-a990-4411351f7f9c" providerId="ADAL" clId="{DD93C774-82BE-4DBD-AB5E-BA44CCD0E829}" dt="2023-08-31T09:07:08.510" v="22405"/>
          <ac:spMkLst>
            <pc:docMk/>
            <pc:sldMk cId="3793799286" sldId="309"/>
            <ac:spMk id="217" creationId="{157E2803-2BF7-ABD7-C482-D7A3AD0399C5}"/>
          </ac:spMkLst>
        </pc:spChg>
        <pc:spChg chg="add del mod replST">
          <ac:chgData name="Lim, Sharon" userId="9ed40bdc-079d-4cee-a990-4411351f7f9c" providerId="ADAL" clId="{DD93C774-82BE-4DBD-AB5E-BA44CCD0E829}" dt="2023-08-31T09:07:08.511" v="22406"/>
          <ac:spMkLst>
            <pc:docMk/>
            <pc:sldMk cId="3793799286" sldId="309"/>
            <ac:spMk id="218" creationId="{157E2803-2BF7-ABD7-C482-D7A3AD0399C5}"/>
          </ac:spMkLst>
        </pc:spChg>
        <pc:spChg chg="add del mod replST">
          <ac:chgData name="Lim, Sharon" userId="9ed40bdc-079d-4cee-a990-4411351f7f9c" providerId="ADAL" clId="{DD93C774-82BE-4DBD-AB5E-BA44CCD0E829}" dt="2023-08-31T09:07:08.512" v="22407"/>
          <ac:spMkLst>
            <pc:docMk/>
            <pc:sldMk cId="3793799286" sldId="309"/>
            <ac:spMk id="219" creationId="{157E2803-2BF7-ABD7-C482-D7A3AD0399C5}"/>
          </ac:spMkLst>
        </pc:spChg>
        <pc:spChg chg="add del mod replST">
          <ac:chgData name="Lim, Sharon" userId="9ed40bdc-079d-4cee-a990-4411351f7f9c" providerId="ADAL" clId="{DD93C774-82BE-4DBD-AB5E-BA44CCD0E829}" dt="2023-08-31T09:07:08.513" v="22408"/>
          <ac:spMkLst>
            <pc:docMk/>
            <pc:sldMk cId="3793799286" sldId="309"/>
            <ac:spMk id="220" creationId="{157E2803-2BF7-ABD7-C482-D7A3AD0399C5}"/>
          </ac:spMkLst>
        </pc:spChg>
        <pc:spChg chg="add del mod replST">
          <ac:chgData name="Lim, Sharon" userId="9ed40bdc-079d-4cee-a990-4411351f7f9c" providerId="ADAL" clId="{DD93C774-82BE-4DBD-AB5E-BA44CCD0E829}" dt="2023-08-31T09:07:08.514" v="22409"/>
          <ac:spMkLst>
            <pc:docMk/>
            <pc:sldMk cId="3793799286" sldId="309"/>
            <ac:spMk id="221" creationId="{157E2803-2BF7-ABD7-C482-D7A3AD0399C5}"/>
          </ac:spMkLst>
        </pc:spChg>
        <pc:spChg chg="add del mod replST">
          <ac:chgData name="Lim, Sharon" userId="9ed40bdc-079d-4cee-a990-4411351f7f9c" providerId="ADAL" clId="{DD93C774-82BE-4DBD-AB5E-BA44CCD0E829}" dt="2023-08-31T09:07:08.515" v="22410"/>
          <ac:spMkLst>
            <pc:docMk/>
            <pc:sldMk cId="3793799286" sldId="309"/>
            <ac:spMk id="222" creationId="{157E2803-2BF7-ABD7-C482-D7A3AD0399C5}"/>
          </ac:spMkLst>
        </pc:spChg>
        <pc:spChg chg="add del mod replST">
          <ac:chgData name="Lim, Sharon" userId="9ed40bdc-079d-4cee-a990-4411351f7f9c" providerId="ADAL" clId="{DD93C774-82BE-4DBD-AB5E-BA44CCD0E829}" dt="2023-08-31T09:07:08.516" v="22411"/>
          <ac:spMkLst>
            <pc:docMk/>
            <pc:sldMk cId="3793799286" sldId="309"/>
            <ac:spMk id="223" creationId="{157E2803-2BF7-ABD7-C482-D7A3AD0399C5}"/>
          </ac:spMkLst>
        </pc:spChg>
        <pc:spChg chg="add del mod replST">
          <ac:chgData name="Lim, Sharon" userId="9ed40bdc-079d-4cee-a990-4411351f7f9c" providerId="ADAL" clId="{DD93C774-82BE-4DBD-AB5E-BA44CCD0E829}" dt="2023-08-31T09:07:08.517" v="22412"/>
          <ac:spMkLst>
            <pc:docMk/>
            <pc:sldMk cId="3793799286" sldId="309"/>
            <ac:spMk id="224" creationId="{157E2803-2BF7-ABD7-C482-D7A3AD0399C5}"/>
          </ac:spMkLst>
        </pc:spChg>
        <pc:spChg chg="add del mod replST">
          <ac:chgData name="Lim, Sharon" userId="9ed40bdc-079d-4cee-a990-4411351f7f9c" providerId="ADAL" clId="{DD93C774-82BE-4DBD-AB5E-BA44CCD0E829}" dt="2023-08-31T09:07:08.519" v="22413"/>
          <ac:spMkLst>
            <pc:docMk/>
            <pc:sldMk cId="3793799286" sldId="309"/>
            <ac:spMk id="225" creationId="{157E2803-2BF7-ABD7-C482-D7A3AD0399C5}"/>
          </ac:spMkLst>
        </pc:spChg>
        <pc:spChg chg="add del mod replST">
          <ac:chgData name="Lim, Sharon" userId="9ed40bdc-079d-4cee-a990-4411351f7f9c" providerId="ADAL" clId="{DD93C774-82BE-4DBD-AB5E-BA44CCD0E829}" dt="2023-08-31T09:07:08.520" v="22414"/>
          <ac:spMkLst>
            <pc:docMk/>
            <pc:sldMk cId="3793799286" sldId="309"/>
            <ac:spMk id="226" creationId="{157E2803-2BF7-ABD7-C482-D7A3AD0399C5}"/>
          </ac:spMkLst>
        </pc:spChg>
        <pc:spChg chg="add del mod replST">
          <ac:chgData name="Lim, Sharon" userId="9ed40bdc-079d-4cee-a990-4411351f7f9c" providerId="ADAL" clId="{DD93C774-82BE-4DBD-AB5E-BA44CCD0E829}" dt="2023-08-31T09:07:08.522" v="22415"/>
          <ac:spMkLst>
            <pc:docMk/>
            <pc:sldMk cId="3793799286" sldId="309"/>
            <ac:spMk id="227" creationId="{157E2803-2BF7-ABD7-C482-D7A3AD0399C5}"/>
          </ac:spMkLst>
        </pc:spChg>
        <pc:spChg chg="add del mod replST">
          <ac:chgData name="Lim, Sharon" userId="9ed40bdc-079d-4cee-a990-4411351f7f9c" providerId="ADAL" clId="{DD93C774-82BE-4DBD-AB5E-BA44CCD0E829}" dt="2023-08-31T09:07:08.524" v="22416"/>
          <ac:spMkLst>
            <pc:docMk/>
            <pc:sldMk cId="3793799286" sldId="309"/>
            <ac:spMk id="228" creationId="{157E2803-2BF7-ABD7-C482-D7A3AD0399C5}"/>
          </ac:spMkLst>
        </pc:spChg>
        <pc:spChg chg="add del mod replST">
          <ac:chgData name="Lim, Sharon" userId="9ed40bdc-079d-4cee-a990-4411351f7f9c" providerId="ADAL" clId="{DD93C774-82BE-4DBD-AB5E-BA44CCD0E829}" dt="2023-08-31T09:07:08.526" v="22417"/>
          <ac:spMkLst>
            <pc:docMk/>
            <pc:sldMk cId="3793799286" sldId="309"/>
            <ac:spMk id="229" creationId="{157E2803-2BF7-ABD7-C482-D7A3AD0399C5}"/>
          </ac:spMkLst>
        </pc:spChg>
        <pc:spChg chg="add del mod replST">
          <ac:chgData name="Lim, Sharon" userId="9ed40bdc-079d-4cee-a990-4411351f7f9c" providerId="ADAL" clId="{DD93C774-82BE-4DBD-AB5E-BA44CCD0E829}" dt="2023-08-31T09:07:08.528" v="22418"/>
          <ac:spMkLst>
            <pc:docMk/>
            <pc:sldMk cId="3793799286" sldId="309"/>
            <ac:spMk id="230" creationId="{157E2803-2BF7-ABD7-C482-D7A3AD0399C5}"/>
          </ac:spMkLst>
        </pc:spChg>
        <pc:spChg chg="add del mod replST">
          <ac:chgData name="Lim, Sharon" userId="9ed40bdc-079d-4cee-a990-4411351f7f9c" providerId="ADAL" clId="{DD93C774-82BE-4DBD-AB5E-BA44CCD0E829}" dt="2023-08-31T09:07:08.530" v="22419"/>
          <ac:spMkLst>
            <pc:docMk/>
            <pc:sldMk cId="3793799286" sldId="309"/>
            <ac:spMk id="231" creationId="{157E2803-2BF7-ABD7-C482-D7A3AD0399C5}"/>
          </ac:spMkLst>
        </pc:spChg>
        <pc:spChg chg="add del mod replST">
          <ac:chgData name="Lim, Sharon" userId="9ed40bdc-079d-4cee-a990-4411351f7f9c" providerId="ADAL" clId="{DD93C774-82BE-4DBD-AB5E-BA44CCD0E829}" dt="2023-08-31T09:07:08.532" v="22420"/>
          <ac:spMkLst>
            <pc:docMk/>
            <pc:sldMk cId="3793799286" sldId="309"/>
            <ac:spMk id="232" creationId="{157E2803-2BF7-ABD7-C482-D7A3AD0399C5}"/>
          </ac:spMkLst>
        </pc:spChg>
        <pc:spChg chg="add del mod replST">
          <ac:chgData name="Lim, Sharon" userId="9ed40bdc-079d-4cee-a990-4411351f7f9c" providerId="ADAL" clId="{DD93C774-82BE-4DBD-AB5E-BA44CCD0E829}" dt="2023-08-31T09:07:08.535" v="22421"/>
          <ac:spMkLst>
            <pc:docMk/>
            <pc:sldMk cId="3793799286" sldId="309"/>
            <ac:spMk id="233" creationId="{157E2803-2BF7-ABD7-C482-D7A3AD0399C5}"/>
          </ac:spMkLst>
        </pc:spChg>
        <pc:spChg chg="add del mod replST">
          <ac:chgData name="Lim, Sharon" userId="9ed40bdc-079d-4cee-a990-4411351f7f9c" providerId="ADAL" clId="{DD93C774-82BE-4DBD-AB5E-BA44CCD0E829}" dt="2023-08-31T09:07:08.537" v="22422"/>
          <ac:spMkLst>
            <pc:docMk/>
            <pc:sldMk cId="3793799286" sldId="309"/>
            <ac:spMk id="234" creationId="{157E2803-2BF7-ABD7-C482-D7A3AD0399C5}"/>
          </ac:spMkLst>
        </pc:spChg>
        <pc:spChg chg="add del mod modVis">
          <ac:chgData name="Lim, Sharon" userId="9ed40bdc-079d-4cee-a990-4411351f7f9c" providerId="ADAL" clId="{DD93C774-82BE-4DBD-AB5E-BA44CCD0E829}" dt="2023-08-31T09:07:08.708" v="22494"/>
          <ac:spMkLst>
            <pc:docMk/>
            <pc:sldMk cId="3793799286" sldId="309"/>
            <ac:spMk id="236" creationId="{E86F5AB8-2584-1F1C-2D6E-BE002AA53F7B}"/>
          </ac:spMkLst>
        </pc:spChg>
        <pc:spChg chg="add del mod modVis">
          <ac:chgData name="Lim, Sharon" userId="9ed40bdc-079d-4cee-a990-4411351f7f9c" providerId="ADAL" clId="{DD93C774-82BE-4DBD-AB5E-BA44CCD0E829}" dt="2023-08-31T09:07:12.243" v="23603"/>
          <ac:spMkLst>
            <pc:docMk/>
            <pc:sldMk cId="3793799286" sldId="309"/>
            <ac:spMk id="238" creationId="{FE846ADB-F29B-05D0-BFF9-B3976A0729BD}"/>
          </ac:spMkLst>
        </pc:spChg>
        <pc:spChg chg="add del mod replST">
          <ac:chgData name="Lim, Sharon" userId="9ed40bdc-079d-4cee-a990-4411351f7f9c" providerId="ADAL" clId="{DD93C774-82BE-4DBD-AB5E-BA44CCD0E829}" dt="2023-08-31T09:07:40.656" v="25999"/>
          <ac:spMkLst>
            <pc:docMk/>
            <pc:sldMk cId="3793799286" sldId="309"/>
            <ac:spMk id="239" creationId="{157E2803-2BF7-ABD7-C482-D7A3AD0399C5}"/>
          </ac:spMkLst>
        </pc:spChg>
        <pc:spChg chg="add mod replST">
          <ac:chgData name="Lim, Sharon" userId="9ed40bdc-079d-4cee-a990-4411351f7f9c" providerId="ADAL" clId="{DD93C774-82BE-4DBD-AB5E-BA44CCD0E829}" dt="2023-08-31T09:24:54.504" v="28209"/>
          <ac:spMkLst>
            <pc:docMk/>
            <pc:sldMk cId="3793799286" sldId="309"/>
            <ac:spMk id="240" creationId="{157E2803-2BF7-ABD7-C482-D7A3AD0399C5}"/>
          </ac:spMkLst>
        </pc:spChg>
        <pc:spChg chg="add del mod replST">
          <ac:chgData name="Lim, Sharon" userId="9ed40bdc-079d-4cee-a990-4411351f7f9c" providerId="ADAL" clId="{DD93C774-82BE-4DBD-AB5E-BA44CCD0E829}" dt="2023-08-31T09:07:23.056" v="24488"/>
          <ac:spMkLst>
            <pc:docMk/>
            <pc:sldMk cId="3793799286" sldId="309"/>
            <ac:spMk id="241" creationId="{157E2803-2BF7-ABD7-C482-D7A3AD0399C5}"/>
          </ac:spMkLst>
        </pc:spChg>
        <pc:spChg chg="add mod replST">
          <ac:chgData name="Lim, Sharon" userId="9ed40bdc-079d-4cee-a990-4411351f7f9c" providerId="ADAL" clId="{DD93C774-82BE-4DBD-AB5E-BA44CCD0E829}" dt="2023-08-31T09:24:54.505" v="28210"/>
          <ac:spMkLst>
            <pc:docMk/>
            <pc:sldMk cId="3793799286" sldId="309"/>
            <ac:spMk id="242" creationId="{157E2803-2BF7-ABD7-C482-D7A3AD0399C5}"/>
          </ac:spMkLst>
        </pc:spChg>
        <pc:spChg chg="add del mod replST">
          <ac:chgData name="Lim, Sharon" userId="9ed40bdc-079d-4cee-a990-4411351f7f9c" providerId="ADAL" clId="{DD93C774-82BE-4DBD-AB5E-BA44CCD0E829}" dt="2023-08-31T09:07:21.550" v="24346"/>
          <ac:spMkLst>
            <pc:docMk/>
            <pc:sldMk cId="3793799286" sldId="309"/>
            <ac:spMk id="243" creationId="{157E2803-2BF7-ABD7-C482-D7A3AD0399C5}"/>
          </ac:spMkLst>
        </pc:spChg>
        <pc:spChg chg="add mod replST">
          <ac:chgData name="Lim, Sharon" userId="9ed40bdc-079d-4cee-a990-4411351f7f9c" providerId="ADAL" clId="{DD93C774-82BE-4DBD-AB5E-BA44CCD0E829}" dt="2023-08-31T09:24:54.505" v="28211"/>
          <ac:spMkLst>
            <pc:docMk/>
            <pc:sldMk cId="3793799286" sldId="309"/>
            <ac:spMk id="244" creationId="{157E2803-2BF7-ABD7-C482-D7A3AD0399C5}"/>
          </ac:spMkLst>
        </pc:spChg>
        <pc:spChg chg="add del mod replST">
          <ac:chgData name="Lim, Sharon" userId="9ed40bdc-079d-4cee-a990-4411351f7f9c" providerId="ADAL" clId="{DD93C774-82BE-4DBD-AB5E-BA44CCD0E829}" dt="2023-08-31T09:07:20.041" v="24202"/>
          <ac:spMkLst>
            <pc:docMk/>
            <pc:sldMk cId="3793799286" sldId="309"/>
            <ac:spMk id="245" creationId="{157E2803-2BF7-ABD7-C482-D7A3AD0399C5}"/>
          </ac:spMkLst>
        </pc:spChg>
        <pc:spChg chg="add mod replST">
          <ac:chgData name="Lim, Sharon" userId="9ed40bdc-079d-4cee-a990-4411351f7f9c" providerId="ADAL" clId="{DD93C774-82BE-4DBD-AB5E-BA44CCD0E829}" dt="2023-08-31T09:24:54.506" v="28212"/>
          <ac:spMkLst>
            <pc:docMk/>
            <pc:sldMk cId="3793799286" sldId="309"/>
            <ac:spMk id="246" creationId="{157E2803-2BF7-ABD7-C482-D7A3AD0399C5}"/>
          </ac:spMkLst>
        </pc:spChg>
        <pc:spChg chg="add del mod replST">
          <ac:chgData name="Lim, Sharon" userId="9ed40bdc-079d-4cee-a990-4411351f7f9c" providerId="ADAL" clId="{DD93C774-82BE-4DBD-AB5E-BA44CCD0E829}" dt="2023-08-31T09:07:18.510" v="24056"/>
          <ac:spMkLst>
            <pc:docMk/>
            <pc:sldMk cId="3793799286" sldId="309"/>
            <ac:spMk id="247" creationId="{157E2803-2BF7-ABD7-C482-D7A3AD0399C5}"/>
          </ac:spMkLst>
        </pc:spChg>
        <pc:spChg chg="add mod replST">
          <ac:chgData name="Lim, Sharon" userId="9ed40bdc-079d-4cee-a990-4411351f7f9c" providerId="ADAL" clId="{DD93C774-82BE-4DBD-AB5E-BA44CCD0E829}" dt="2023-08-31T09:24:54.507" v="28213"/>
          <ac:spMkLst>
            <pc:docMk/>
            <pc:sldMk cId="3793799286" sldId="309"/>
            <ac:spMk id="248" creationId="{157E2803-2BF7-ABD7-C482-D7A3AD0399C5}"/>
          </ac:spMkLst>
        </pc:spChg>
        <pc:spChg chg="add del mod replST">
          <ac:chgData name="Lim, Sharon" userId="9ed40bdc-079d-4cee-a990-4411351f7f9c" providerId="ADAL" clId="{DD93C774-82BE-4DBD-AB5E-BA44CCD0E829}" dt="2023-08-31T09:07:17.005" v="23908"/>
          <ac:spMkLst>
            <pc:docMk/>
            <pc:sldMk cId="3793799286" sldId="309"/>
            <ac:spMk id="249" creationId="{157E2803-2BF7-ABD7-C482-D7A3AD0399C5}"/>
          </ac:spMkLst>
        </pc:spChg>
        <pc:spChg chg="add mod replST">
          <ac:chgData name="Lim, Sharon" userId="9ed40bdc-079d-4cee-a990-4411351f7f9c" providerId="ADAL" clId="{DD93C774-82BE-4DBD-AB5E-BA44CCD0E829}" dt="2023-08-31T09:24:54.507" v="28214"/>
          <ac:spMkLst>
            <pc:docMk/>
            <pc:sldMk cId="3793799286" sldId="309"/>
            <ac:spMk id="250" creationId="{157E2803-2BF7-ABD7-C482-D7A3AD0399C5}"/>
          </ac:spMkLst>
        </pc:spChg>
        <pc:spChg chg="add del mod replST">
          <ac:chgData name="Lim, Sharon" userId="9ed40bdc-079d-4cee-a990-4411351f7f9c" providerId="ADAL" clId="{DD93C774-82BE-4DBD-AB5E-BA44CCD0E829}" dt="2023-08-31T09:07:15.493" v="23758"/>
          <ac:spMkLst>
            <pc:docMk/>
            <pc:sldMk cId="3793799286" sldId="309"/>
            <ac:spMk id="251" creationId="{157E2803-2BF7-ABD7-C482-D7A3AD0399C5}"/>
          </ac:spMkLst>
        </pc:spChg>
        <pc:spChg chg="add mod replST">
          <ac:chgData name="Lim, Sharon" userId="9ed40bdc-079d-4cee-a990-4411351f7f9c" providerId="ADAL" clId="{DD93C774-82BE-4DBD-AB5E-BA44CCD0E829}" dt="2023-08-31T09:24:54.508" v="28215"/>
          <ac:spMkLst>
            <pc:docMk/>
            <pc:sldMk cId="3793799286" sldId="309"/>
            <ac:spMk id="252" creationId="{157E2803-2BF7-ABD7-C482-D7A3AD0399C5}"/>
          </ac:spMkLst>
        </pc:spChg>
        <pc:spChg chg="add del mod replST">
          <ac:chgData name="Lim, Sharon" userId="9ed40bdc-079d-4cee-a990-4411351f7f9c" providerId="ADAL" clId="{DD93C774-82BE-4DBD-AB5E-BA44CCD0E829}" dt="2023-08-31T09:07:13.747" v="23606"/>
          <ac:spMkLst>
            <pc:docMk/>
            <pc:sldMk cId="3793799286" sldId="309"/>
            <ac:spMk id="253" creationId="{157E2803-2BF7-ABD7-C482-D7A3AD0399C5}"/>
          </ac:spMkLst>
        </pc:spChg>
        <pc:spChg chg="add mod replST">
          <ac:chgData name="Lim, Sharon" userId="9ed40bdc-079d-4cee-a990-4411351f7f9c" providerId="ADAL" clId="{DD93C774-82BE-4DBD-AB5E-BA44CCD0E829}" dt="2023-08-31T09:24:54.509" v="28216"/>
          <ac:spMkLst>
            <pc:docMk/>
            <pc:sldMk cId="3793799286" sldId="309"/>
            <ac:spMk id="254" creationId="{157E2803-2BF7-ABD7-C482-D7A3AD0399C5}"/>
          </ac:spMkLst>
        </pc:spChg>
        <pc:spChg chg="add mod replST">
          <ac:chgData name="Lim, Sharon" userId="9ed40bdc-079d-4cee-a990-4411351f7f9c" providerId="ADAL" clId="{DD93C774-82BE-4DBD-AB5E-BA44CCD0E829}" dt="2023-08-31T09:24:54.509" v="28217"/>
          <ac:spMkLst>
            <pc:docMk/>
            <pc:sldMk cId="3793799286" sldId="309"/>
            <ac:spMk id="255" creationId="{157E2803-2BF7-ABD7-C482-D7A3AD0399C5}"/>
          </ac:spMkLst>
        </pc:spChg>
        <pc:spChg chg="add del mod modVis">
          <ac:chgData name="Lim, Sharon" userId="9ed40bdc-079d-4cee-a990-4411351f7f9c" providerId="ADAL" clId="{DD93C774-82BE-4DBD-AB5E-BA44CCD0E829}" dt="2023-08-31T09:07:13.978" v="23755"/>
          <ac:spMkLst>
            <pc:docMk/>
            <pc:sldMk cId="3793799286" sldId="309"/>
            <ac:spMk id="257" creationId="{923073CB-8BCA-5ADD-57AC-FD491037FB06}"/>
          </ac:spMkLst>
        </pc:spChg>
        <pc:spChg chg="add del mod modVis">
          <ac:chgData name="Lim, Sharon" userId="9ed40bdc-079d-4cee-a990-4411351f7f9c" providerId="ADAL" clId="{DD93C774-82BE-4DBD-AB5E-BA44CCD0E829}" dt="2023-08-31T09:07:15.666" v="23905"/>
          <ac:spMkLst>
            <pc:docMk/>
            <pc:sldMk cId="3793799286" sldId="309"/>
            <ac:spMk id="259" creationId="{9D002AE4-E64F-99F3-498F-E952ED25A757}"/>
          </ac:spMkLst>
        </pc:spChg>
        <pc:spChg chg="add del mod modVis">
          <ac:chgData name="Lim, Sharon" userId="9ed40bdc-079d-4cee-a990-4411351f7f9c" providerId="ADAL" clId="{DD93C774-82BE-4DBD-AB5E-BA44CCD0E829}" dt="2023-08-31T09:07:17.188" v="24053"/>
          <ac:spMkLst>
            <pc:docMk/>
            <pc:sldMk cId="3793799286" sldId="309"/>
            <ac:spMk id="261" creationId="{D6C3C626-C7F8-0AAE-33A3-C4E496A05BDC}"/>
          </ac:spMkLst>
        </pc:spChg>
        <pc:spChg chg="add del mod modVis">
          <ac:chgData name="Lim, Sharon" userId="9ed40bdc-079d-4cee-a990-4411351f7f9c" providerId="ADAL" clId="{DD93C774-82BE-4DBD-AB5E-BA44CCD0E829}" dt="2023-08-31T09:07:18.780" v="24199"/>
          <ac:spMkLst>
            <pc:docMk/>
            <pc:sldMk cId="3793799286" sldId="309"/>
            <ac:spMk id="263" creationId="{4AE2376D-08AB-6C64-B774-AF27905FADE3}"/>
          </ac:spMkLst>
        </pc:spChg>
        <pc:spChg chg="add del mod modVis">
          <ac:chgData name="Lim, Sharon" userId="9ed40bdc-079d-4cee-a990-4411351f7f9c" providerId="ADAL" clId="{DD93C774-82BE-4DBD-AB5E-BA44CCD0E829}" dt="2023-08-31T09:07:20.299" v="24343"/>
          <ac:spMkLst>
            <pc:docMk/>
            <pc:sldMk cId="3793799286" sldId="309"/>
            <ac:spMk id="265" creationId="{2B57395B-8824-8E28-403E-5D4563DBAC96}"/>
          </ac:spMkLst>
        </pc:spChg>
        <pc:spChg chg="add del mod modVis">
          <ac:chgData name="Lim, Sharon" userId="9ed40bdc-079d-4cee-a990-4411351f7f9c" providerId="ADAL" clId="{DD93C774-82BE-4DBD-AB5E-BA44CCD0E829}" dt="2023-08-31T09:07:21.796" v="24485"/>
          <ac:spMkLst>
            <pc:docMk/>
            <pc:sldMk cId="3793799286" sldId="309"/>
            <ac:spMk id="267" creationId="{3AAD23CB-6532-208E-15CB-D2CC13B0F0A5}"/>
          </ac:spMkLst>
        </pc:spChg>
        <pc:spChg chg="add del mod modVis">
          <ac:chgData name="Lim, Sharon" userId="9ed40bdc-079d-4cee-a990-4411351f7f9c" providerId="ADAL" clId="{DD93C774-82BE-4DBD-AB5E-BA44CCD0E829}" dt="2023-08-31T09:07:23.297" v="24625"/>
          <ac:spMkLst>
            <pc:docMk/>
            <pc:sldMk cId="3793799286" sldId="309"/>
            <ac:spMk id="269" creationId="{D19D5E84-8AC4-F431-96E2-E20742965A8F}"/>
          </ac:spMkLst>
        </pc:spChg>
        <pc:spChg chg="add del mod modVis">
          <ac:chgData name="Lim, Sharon" userId="9ed40bdc-079d-4cee-a990-4411351f7f9c" providerId="ADAL" clId="{DD93C774-82BE-4DBD-AB5E-BA44CCD0E829}" dt="2023-08-31T09:07:25.760" v="24764"/>
          <ac:spMkLst>
            <pc:docMk/>
            <pc:sldMk cId="3793799286" sldId="309"/>
            <ac:spMk id="271" creationId="{62A196EC-FECA-21A2-9A7C-BE487094F5C9}"/>
          </ac:spMkLst>
        </pc:spChg>
        <pc:spChg chg="add del mod modVis">
          <ac:chgData name="Lim, Sharon" userId="9ed40bdc-079d-4cee-a990-4411351f7f9c" providerId="ADAL" clId="{DD93C774-82BE-4DBD-AB5E-BA44CCD0E829}" dt="2023-08-31T09:07:27.631" v="24901"/>
          <ac:spMkLst>
            <pc:docMk/>
            <pc:sldMk cId="3793799286" sldId="309"/>
            <ac:spMk id="273" creationId="{2C950854-3A26-F53A-32BC-FD7C06BA0B86}"/>
          </ac:spMkLst>
        </pc:spChg>
        <pc:spChg chg="add del mod modVis">
          <ac:chgData name="Lim, Sharon" userId="9ed40bdc-079d-4cee-a990-4411351f7f9c" providerId="ADAL" clId="{DD93C774-82BE-4DBD-AB5E-BA44CCD0E829}" dt="2023-08-31T09:07:28.755" v="25036"/>
          <ac:spMkLst>
            <pc:docMk/>
            <pc:sldMk cId="3793799286" sldId="309"/>
            <ac:spMk id="275" creationId="{3EC77EFD-F3B8-B9D8-FD2A-63EC2AA153C8}"/>
          </ac:spMkLst>
        </pc:spChg>
        <pc:spChg chg="add del mod modVis">
          <ac:chgData name="Lim, Sharon" userId="9ed40bdc-079d-4cee-a990-4411351f7f9c" providerId="ADAL" clId="{DD93C774-82BE-4DBD-AB5E-BA44CCD0E829}" dt="2023-08-31T09:07:29.741" v="25169"/>
          <ac:spMkLst>
            <pc:docMk/>
            <pc:sldMk cId="3793799286" sldId="309"/>
            <ac:spMk id="277" creationId="{76D92ECD-CD95-734E-9C46-449007CB6148}"/>
          </ac:spMkLst>
        </pc:spChg>
        <pc:spChg chg="add del mod modVis">
          <ac:chgData name="Lim, Sharon" userId="9ed40bdc-079d-4cee-a990-4411351f7f9c" providerId="ADAL" clId="{DD93C774-82BE-4DBD-AB5E-BA44CCD0E829}" dt="2023-08-31T09:07:30.686" v="25300"/>
          <ac:spMkLst>
            <pc:docMk/>
            <pc:sldMk cId="3793799286" sldId="309"/>
            <ac:spMk id="279" creationId="{740791A6-2B39-E9BB-90A7-12C4C96DBDF0}"/>
          </ac:spMkLst>
        </pc:spChg>
        <pc:spChg chg="add del mod modVis">
          <ac:chgData name="Lim, Sharon" userId="9ed40bdc-079d-4cee-a990-4411351f7f9c" providerId="ADAL" clId="{DD93C774-82BE-4DBD-AB5E-BA44CCD0E829}" dt="2023-08-31T09:07:31.695" v="25429"/>
          <ac:spMkLst>
            <pc:docMk/>
            <pc:sldMk cId="3793799286" sldId="309"/>
            <ac:spMk id="281" creationId="{8DEA9648-D7B3-D784-4BA0-7DA3EAC893F8}"/>
          </ac:spMkLst>
        </pc:spChg>
        <pc:spChg chg="add del mod modVis">
          <ac:chgData name="Lim, Sharon" userId="9ed40bdc-079d-4cee-a990-4411351f7f9c" providerId="ADAL" clId="{DD93C774-82BE-4DBD-AB5E-BA44CCD0E829}" dt="2023-08-31T09:07:32.652" v="25556"/>
          <ac:spMkLst>
            <pc:docMk/>
            <pc:sldMk cId="3793799286" sldId="309"/>
            <ac:spMk id="283" creationId="{ED966269-A2E5-A1FF-7764-74FDCA9EEA0B}"/>
          </ac:spMkLst>
        </pc:spChg>
        <pc:spChg chg="add del mod modVis">
          <ac:chgData name="Lim, Sharon" userId="9ed40bdc-079d-4cee-a990-4411351f7f9c" providerId="ADAL" clId="{DD93C774-82BE-4DBD-AB5E-BA44CCD0E829}" dt="2023-08-31T09:07:34.033" v="25681"/>
          <ac:spMkLst>
            <pc:docMk/>
            <pc:sldMk cId="3793799286" sldId="309"/>
            <ac:spMk id="285" creationId="{1343CDB3-BF74-5888-1150-FC8D9C32F348}"/>
          </ac:spMkLst>
        </pc:spChg>
        <pc:spChg chg="add del mod modVis">
          <ac:chgData name="Lim, Sharon" userId="9ed40bdc-079d-4cee-a990-4411351f7f9c" providerId="ADAL" clId="{DD93C774-82BE-4DBD-AB5E-BA44CCD0E829}" dt="2023-08-31T09:07:38.245" v="25801"/>
          <ac:spMkLst>
            <pc:docMk/>
            <pc:sldMk cId="3793799286" sldId="309"/>
            <ac:spMk id="287" creationId="{983EF7B8-4EE7-6934-884A-DE0C8E68F826}"/>
          </ac:spMkLst>
        </pc:spChg>
        <pc:spChg chg="add del mod modVis">
          <ac:chgData name="Lim, Sharon" userId="9ed40bdc-079d-4cee-a990-4411351f7f9c" providerId="ADAL" clId="{DD93C774-82BE-4DBD-AB5E-BA44CCD0E829}" dt="2023-08-31T09:07:39.311" v="25996"/>
          <ac:spMkLst>
            <pc:docMk/>
            <pc:sldMk cId="3793799286" sldId="309"/>
            <ac:spMk id="289" creationId="{DBA673D7-1C16-45A7-FC8C-D96320733550}"/>
          </ac:spMkLst>
        </pc:spChg>
        <pc:spChg chg="add del mod modVis">
          <ac:chgData name="Lim, Sharon" userId="9ed40bdc-079d-4cee-a990-4411351f7f9c" providerId="ADAL" clId="{DD93C774-82BE-4DBD-AB5E-BA44CCD0E829}" dt="2023-08-31T09:07:40.891" v="26115"/>
          <ac:spMkLst>
            <pc:docMk/>
            <pc:sldMk cId="3793799286" sldId="309"/>
            <ac:spMk id="291" creationId="{4A6DEE2A-A574-E338-B6D7-61E0E0AA9F0D}"/>
          </ac:spMkLst>
        </pc:spChg>
        <pc:spChg chg="add del mod ord">
          <ac:chgData name="Lim, Sharon" userId="9ed40bdc-079d-4cee-a990-4411351f7f9c" providerId="ADAL" clId="{DD93C774-82BE-4DBD-AB5E-BA44CCD0E829}" dt="2023-09-01T03:28:57.081" v="66954" actId="478"/>
          <ac:spMkLst>
            <pc:docMk/>
            <pc:sldMk cId="3793799286" sldId="309"/>
            <ac:spMk id="293" creationId="{06243DB8-9E33-9898-3406-517912229D25}"/>
          </ac:spMkLst>
        </pc:spChg>
        <pc:spChg chg="add del mod modVis">
          <ac:chgData name="Lim, Sharon" userId="9ed40bdc-079d-4cee-a990-4411351f7f9c" providerId="ADAL" clId="{DD93C774-82BE-4DBD-AB5E-BA44CCD0E829}" dt="2023-08-31T09:08:09.144" v="26321"/>
          <ac:spMkLst>
            <pc:docMk/>
            <pc:sldMk cId="3793799286" sldId="309"/>
            <ac:spMk id="294" creationId="{4B14EA10-61BC-FEB4-A816-7E3229A014C5}"/>
          </ac:spMkLst>
        </pc:spChg>
        <pc:spChg chg="add del mod modVis">
          <ac:chgData name="Lim, Sharon" userId="9ed40bdc-079d-4cee-a990-4411351f7f9c" providerId="ADAL" clId="{DD93C774-82BE-4DBD-AB5E-BA44CCD0E829}" dt="2023-08-31T09:08:13.703" v="26515"/>
          <ac:spMkLst>
            <pc:docMk/>
            <pc:sldMk cId="3793799286" sldId="309"/>
            <ac:spMk id="296" creationId="{518CD8F6-1255-F8A5-BE1A-803FE34FD266}"/>
          </ac:spMkLst>
        </pc:spChg>
        <pc:spChg chg="add del mod">
          <ac:chgData name="Lim, Sharon" userId="9ed40bdc-079d-4cee-a990-4411351f7f9c" providerId="ADAL" clId="{DD93C774-82BE-4DBD-AB5E-BA44CCD0E829}" dt="2023-08-31T09:09:03.284" v="26558" actId="478"/>
          <ac:spMkLst>
            <pc:docMk/>
            <pc:sldMk cId="3793799286" sldId="309"/>
            <ac:spMk id="298" creationId="{38907DC8-EB78-5AE6-1F8A-A9A886C4E5F8}"/>
          </ac:spMkLst>
        </pc:spChg>
        <pc:spChg chg="add del mod modVis">
          <ac:chgData name="Lim, Sharon" userId="9ed40bdc-079d-4cee-a990-4411351f7f9c" providerId="ADAL" clId="{DD93C774-82BE-4DBD-AB5E-BA44CCD0E829}" dt="2023-08-31T09:09:12.265" v="26836"/>
          <ac:spMkLst>
            <pc:docMk/>
            <pc:sldMk cId="3793799286" sldId="309"/>
            <ac:spMk id="299" creationId="{F8FFC599-D556-D5CB-8304-A3E62F25D300}"/>
          </ac:spMkLst>
        </pc:spChg>
        <pc:spChg chg="add mod ord">
          <ac:chgData name="Lim, Sharon" userId="9ed40bdc-079d-4cee-a990-4411351f7f9c" providerId="ADAL" clId="{DD93C774-82BE-4DBD-AB5E-BA44CCD0E829}" dt="2023-09-01T02:27:31.859" v="66307" actId="20577"/>
          <ac:spMkLst>
            <pc:docMk/>
            <pc:sldMk cId="3793799286" sldId="309"/>
            <ac:spMk id="301" creationId="{9EF14CCA-868D-8F02-BECD-BFD20B06E6AC}"/>
          </ac:spMkLst>
        </pc:spChg>
        <pc:spChg chg="add del mod">
          <ac:chgData name="Lim, Sharon" userId="9ed40bdc-079d-4cee-a990-4411351f7f9c" providerId="ADAL" clId="{DD93C774-82BE-4DBD-AB5E-BA44CCD0E829}" dt="2023-08-31T09:10:36.374" v="26852" actId="478"/>
          <ac:spMkLst>
            <pc:docMk/>
            <pc:sldMk cId="3793799286" sldId="309"/>
            <ac:spMk id="302" creationId="{396D9784-ED65-660A-8F9D-827DC4B50FAE}"/>
          </ac:spMkLst>
        </pc:spChg>
        <pc:spChg chg="add del mod ord">
          <ac:chgData name="Lim, Sharon" userId="9ed40bdc-079d-4cee-a990-4411351f7f9c" providerId="ADAL" clId="{DD93C774-82BE-4DBD-AB5E-BA44CCD0E829}" dt="2023-08-31T09:24:57.900" v="28245" actId="478"/>
          <ac:spMkLst>
            <pc:docMk/>
            <pc:sldMk cId="3793799286" sldId="309"/>
            <ac:spMk id="303" creationId="{24E7BD9C-015E-3A92-538D-52A922E2DD8B}"/>
          </ac:spMkLst>
        </pc:spChg>
        <pc:spChg chg="add del mod modVis">
          <ac:chgData name="Lim, Sharon" userId="9ed40bdc-079d-4cee-a990-4411351f7f9c" providerId="ADAL" clId="{DD93C774-82BE-4DBD-AB5E-BA44CCD0E829}" dt="2023-08-31T09:13:48.267" v="27355"/>
          <ac:spMkLst>
            <pc:docMk/>
            <pc:sldMk cId="3793799286" sldId="309"/>
            <ac:spMk id="304" creationId="{B85E970B-ADB5-4139-A8A6-39D54F68EE34}"/>
          </ac:spMkLst>
        </pc:spChg>
        <pc:spChg chg="add mod ord">
          <ac:chgData name="Lim, Sharon" userId="9ed40bdc-079d-4cee-a990-4411351f7f9c" providerId="ADAL" clId="{DD93C774-82BE-4DBD-AB5E-BA44CCD0E829}" dt="2023-08-31T09:24:54.520" v="28238"/>
          <ac:spMkLst>
            <pc:docMk/>
            <pc:sldMk cId="3793799286" sldId="309"/>
            <ac:spMk id="306" creationId="{4B9DE404-AE16-C006-6589-CF1062CF37B5}"/>
          </ac:spMkLst>
        </pc:spChg>
        <pc:spChg chg="add del mod">
          <ac:chgData name="Lim, Sharon" userId="9ed40bdc-079d-4cee-a990-4411351f7f9c" providerId="ADAL" clId="{DD93C774-82BE-4DBD-AB5E-BA44CCD0E829}" dt="2023-08-31T09:24:28.356" v="28142" actId="21"/>
          <ac:spMkLst>
            <pc:docMk/>
            <pc:sldMk cId="3793799286" sldId="309"/>
            <ac:spMk id="307" creationId="{6D355842-2640-5E84-5065-9EFBAE65B4F4}"/>
          </ac:spMkLst>
        </pc:spChg>
        <pc:spChg chg="add mod ord">
          <ac:chgData name="Lim, Sharon" userId="9ed40bdc-079d-4cee-a990-4411351f7f9c" providerId="ADAL" clId="{DD93C774-82BE-4DBD-AB5E-BA44CCD0E829}" dt="2023-08-31T09:24:54.493" v="28183"/>
          <ac:spMkLst>
            <pc:docMk/>
            <pc:sldMk cId="3793799286" sldId="309"/>
            <ac:spMk id="308" creationId="{ABF0FE9D-09AF-32EC-4D4A-FF851F625270}"/>
          </ac:spMkLst>
        </pc:spChg>
        <pc:spChg chg="add del mod">
          <ac:chgData name="Lim, Sharon" userId="9ed40bdc-079d-4cee-a990-4411351f7f9c" providerId="ADAL" clId="{DD93C774-82BE-4DBD-AB5E-BA44CCD0E829}" dt="2023-08-31T09:24:40.132" v="28150" actId="21"/>
          <ac:spMkLst>
            <pc:docMk/>
            <pc:sldMk cId="3793799286" sldId="309"/>
            <ac:spMk id="309" creationId="{9B94C2E9-506D-633E-AB9F-DCE4CBCD037A}"/>
          </ac:spMkLst>
        </pc:spChg>
        <pc:spChg chg="add del mod">
          <ac:chgData name="Lim, Sharon" userId="9ed40bdc-079d-4cee-a990-4411351f7f9c" providerId="ADAL" clId="{DD93C774-82BE-4DBD-AB5E-BA44CCD0E829}" dt="2023-08-31T09:24:36.579" v="28149"/>
          <ac:spMkLst>
            <pc:docMk/>
            <pc:sldMk cId="3793799286" sldId="309"/>
            <ac:spMk id="310" creationId="{AC83FDE8-AF5E-7B0E-B086-91AAB83689EA}"/>
          </ac:spMkLst>
        </pc:spChg>
        <pc:spChg chg="add del mod">
          <ac:chgData name="Lim, Sharon" userId="9ed40bdc-079d-4cee-a990-4411351f7f9c" providerId="ADAL" clId="{DD93C774-82BE-4DBD-AB5E-BA44CCD0E829}" dt="2023-08-31T09:24:36.579" v="28149"/>
          <ac:spMkLst>
            <pc:docMk/>
            <pc:sldMk cId="3793799286" sldId="309"/>
            <ac:spMk id="311" creationId="{CE3542DB-1D19-0941-371A-930E1E4C3511}"/>
          </ac:spMkLst>
        </pc:spChg>
        <pc:spChg chg="add del mod">
          <ac:chgData name="Lim, Sharon" userId="9ed40bdc-079d-4cee-a990-4411351f7f9c" providerId="ADAL" clId="{DD93C774-82BE-4DBD-AB5E-BA44CCD0E829}" dt="2023-08-31T09:24:36.351" v="28148"/>
          <ac:spMkLst>
            <pc:docMk/>
            <pc:sldMk cId="3793799286" sldId="309"/>
            <ac:spMk id="312" creationId="{E1928325-BAC2-2313-5516-EA92E685BF08}"/>
          </ac:spMkLst>
        </pc:spChg>
        <pc:spChg chg="add del mod">
          <ac:chgData name="Lim, Sharon" userId="9ed40bdc-079d-4cee-a990-4411351f7f9c" providerId="ADAL" clId="{DD93C774-82BE-4DBD-AB5E-BA44CCD0E829}" dt="2023-08-31T09:24:36.351" v="28148"/>
          <ac:spMkLst>
            <pc:docMk/>
            <pc:sldMk cId="3793799286" sldId="309"/>
            <ac:spMk id="313" creationId="{0724819E-7699-6F53-8196-B170241B8627}"/>
          </ac:spMkLst>
        </pc:spChg>
        <pc:spChg chg="add del mod">
          <ac:chgData name="Lim, Sharon" userId="9ed40bdc-079d-4cee-a990-4411351f7f9c" providerId="ADAL" clId="{DD93C774-82BE-4DBD-AB5E-BA44CCD0E829}" dt="2023-08-31T09:24:36.106" v="28147"/>
          <ac:spMkLst>
            <pc:docMk/>
            <pc:sldMk cId="3793799286" sldId="309"/>
            <ac:spMk id="314" creationId="{D7A98CB7-A0CD-E765-33F6-2C9CE9FFBBB3}"/>
          </ac:spMkLst>
        </pc:spChg>
        <pc:spChg chg="add del mod">
          <ac:chgData name="Lim, Sharon" userId="9ed40bdc-079d-4cee-a990-4411351f7f9c" providerId="ADAL" clId="{DD93C774-82BE-4DBD-AB5E-BA44CCD0E829}" dt="2023-08-31T09:24:36.106" v="28147"/>
          <ac:spMkLst>
            <pc:docMk/>
            <pc:sldMk cId="3793799286" sldId="309"/>
            <ac:spMk id="315" creationId="{94E86A26-7B5B-2EE2-E72C-E7857FF89A07}"/>
          </ac:spMkLst>
        </pc:spChg>
        <pc:spChg chg="add mod ord">
          <ac:chgData name="Lim, Sharon" userId="9ed40bdc-079d-4cee-a990-4411351f7f9c" providerId="ADAL" clId="{DD93C774-82BE-4DBD-AB5E-BA44CCD0E829}" dt="2023-08-31T09:24:54.521" v="28240"/>
          <ac:spMkLst>
            <pc:docMk/>
            <pc:sldMk cId="3793799286" sldId="309"/>
            <ac:spMk id="316" creationId="{F13E0D91-47D0-DC86-5E67-D0E090E56B2A}"/>
          </ac:spMkLst>
        </pc:spChg>
        <pc:spChg chg="add mod">
          <ac:chgData name="Lim, Sharon" userId="9ed40bdc-079d-4cee-a990-4411351f7f9c" providerId="ADAL" clId="{DD93C774-82BE-4DBD-AB5E-BA44CCD0E829}" dt="2023-09-01T03:54:04.351" v="67362" actId="20577"/>
          <ac:spMkLst>
            <pc:docMk/>
            <pc:sldMk cId="3793799286" sldId="309"/>
            <ac:spMk id="317" creationId="{1852E4DA-DC28-2A39-2DB7-E79A71AEF43C}"/>
          </ac:spMkLst>
        </pc:spChg>
        <pc:graphicFrameChg chg="add mod ord modVis replST">
          <ac:chgData name="Lim, Sharon" userId="9ed40bdc-079d-4cee-a990-4411351f7f9c" providerId="ADAL" clId="{DD93C774-82BE-4DBD-AB5E-BA44CCD0E829}" dt="2023-09-01T04:03:10.095" v="67367"/>
          <ac:graphicFrameMkLst>
            <pc:docMk/>
            <pc:sldMk cId="3793799286" sldId="309"/>
            <ac:graphicFrameMk id="4" creationId="{DF641BDA-2511-C092-BA40-27C321E82FFD}"/>
          </ac:graphicFrameMkLst>
        </pc:graphicFrameChg>
        <pc:graphicFrameChg chg="add del mod replST">
          <ac:chgData name="Lim, Sharon" userId="9ed40bdc-079d-4cee-a990-4411351f7f9c" providerId="ADAL" clId="{DD93C774-82BE-4DBD-AB5E-BA44CCD0E829}" dt="2023-08-31T09:01:29.860" v="10655"/>
          <ac:graphicFrameMkLst>
            <pc:docMk/>
            <pc:sldMk cId="3793799286" sldId="309"/>
            <ac:graphicFrameMk id="27" creationId="{CFDC0712-06D6-DCF9-4CB4-5BB1BBA296F6}"/>
          </ac:graphicFrameMkLst>
        </pc:graphicFrameChg>
        <pc:graphicFrameChg chg="add del mod replST">
          <ac:chgData name="Lim, Sharon" userId="9ed40bdc-079d-4cee-a990-4411351f7f9c" providerId="ADAL" clId="{DD93C774-82BE-4DBD-AB5E-BA44CCD0E829}" dt="2023-08-31T09:01:59.833" v="10753"/>
          <ac:graphicFrameMkLst>
            <pc:docMk/>
            <pc:sldMk cId="3793799286" sldId="309"/>
            <ac:graphicFrameMk id="29" creationId="{A4DD61ED-D096-EE08-B6C3-A8F56C72F971}"/>
          </ac:graphicFrameMkLst>
        </pc:graphicFrameChg>
        <pc:graphicFrameChg chg="add del mod replST">
          <ac:chgData name="Lim, Sharon" userId="9ed40bdc-079d-4cee-a990-4411351f7f9c" providerId="ADAL" clId="{DD93C774-82BE-4DBD-AB5E-BA44CCD0E829}" dt="2023-08-31T09:02:02.492" v="10857"/>
          <ac:graphicFrameMkLst>
            <pc:docMk/>
            <pc:sldMk cId="3793799286" sldId="309"/>
            <ac:graphicFrameMk id="31" creationId="{BB22576D-8C9B-7BBD-E0D7-C65000BB03AF}"/>
          </ac:graphicFrameMkLst>
        </pc:graphicFrameChg>
        <pc:graphicFrameChg chg="add del mod replST">
          <ac:chgData name="Lim, Sharon" userId="9ed40bdc-079d-4cee-a990-4411351f7f9c" providerId="ADAL" clId="{DD93C774-82BE-4DBD-AB5E-BA44CCD0E829}" dt="2023-08-31T09:02:05.159" v="10963"/>
          <ac:graphicFrameMkLst>
            <pc:docMk/>
            <pc:sldMk cId="3793799286" sldId="309"/>
            <ac:graphicFrameMk id="34" creationId="{27BBBF19-DE7B-08AA-5EE3-54FCEE954D5C}"/>
          </ac:graphicFrameMkLst>
        </pc:graphicFrameChg>
        <pc:graphicFrameChg chg="add del mod replST">
          <ac:chgData name="Lim, Sharon" userId="9ed40bdc-079d-4cee-a990-4411351f7f9c" providerId="ADAL" clId="{DD93C774-82BE-4DBD-AB5E-BA44CCD0E829}" dt="2023-08-31T09:02:07.590" v="11140"/>
          <ac:graphicFrameMkLst>
            <pc:docMk/>
            <pc:sldMk cId="3793799286" sldId="309"/>
            <ac:graphicFrameMk id="37" creationId="{495D2842-2C81-15D6-B261-E53D381CFD5C}"/>
          </ac:graphicFrameMkLst>
        </pc:graphicFrameChg>
        <pc:graphicFrameChg chg="add del mod replST">
          <ac:chgData name="Lim, Sharon" userId="9ed40bdc-079d-4cee-a990-4411351f7f9c" providerId="ADAL" clId="{DD93C774-82BE-4DBD-AB5E-BA44CCD0E829}" dt="2023-08-31T09:02:09.849" v="11288"/>
          <ac:graphicFrameMkLst>
            <pc:docMk/>
            <pc:sldMk cId="3793799286" sldId="309"/>
            <ac:graphicFrameMk id="43" creationId="{FDBA1783-C019-74C6-AD3F-B2868DD9E34F}"/>
          </ac:graphicFrameMkLst>
        </pc:graphicFrameChg>
        <pc:graphicFrameChg chg="add del mod replST">
          <ac:chgData name="Lim, Sharon" userId="9ed40bdc-079d-4cee-a990-4411351f7f9c" providerId="ADAL" clId="{DD93C774-82BE-4DBD-AB5E-BA44CCD0E829}" dt="2023-08-31T09:02:12.910" v="11440"/>
          <ac:graphicFrameMkLst>
            <pc:docMk/>
            <pc:sldMk cId="3793799286" sldId="309"/>
            <ac:graphicFrameMk id="46" creationId="{EB8E5B24-0E6F-3AC9-732B-B0929E736623}"/>
          </ac:graphicFrameMkLst>
        </pc:graphicFrameChg>
        <pc:graphicFrameChg chg="add del mod replST">
          <ac:chgData name="Lim, Sharon" userId="9ed40bdc-079d-4cee-a990-4411351f7f9c" providerId="ADAL" clId="{DD93C774-82BE-4DBD-AB5E-BA44CCD0E829}" dt="2023-08-31T09:02:14.902" v="11596"/>
          <ac:graphicFrameMkLst>
            <pc:docMk/>
            <pc:sldMk cId="3793799286" sldId="309"/>
            <ac:graphicFrameMk id="49" creationId="{7DB4A6D1-5DCB-3CCF-5C58-A6C523BDE6A8}"/>
          </ac:graphicFrameMkLst>
        </pc:graphicFrameChg>
        <pc:graphicFrameChg chg="add del mod replST">
          <ac:chgData name="Lim, Sharon" userId="9ed40bdc-079d-4cee-a990-4411351f7f9c" providerId="ADAL" clId="{DD93C774-82BE-4DBD-AB5E-BA44CCD0E829}" dt="2023-08-31T09:02:17.275" v="11756"/>
          <ac:graphicFrameMkLst>
            <pc:docMk/>
            <pc:sldMk cId="3793799286" sldId="309"/>
            <ac:graphicFrameMk id="52" creationId="{2857BD5A-073A-11CC-7019-3B29C496754F}"/>
          </ac:graphicFrameMkLst>
        </pc:graphicFrameChg>
        <pc:graphicFrameChg chg="add del mod replST">
          <ac:chgData name="Lim, Sharon" userId="9ed40bdc-079d-4cee-a990-4411351f7f9c" providerId="ADAL" clId="{DD93C774-82BE-4DBD-AB5E-BA44CCD0E829}" dt="2023-08-31T09:02:20.225" v="11929"/>
          <ac:graphicFrameMkLst>
            <pc:docMk/>
            <pc:sldMk cId="3793799286" sldId="309"/>
            <ac:graphicFrameMk id="55" creationId="{0AEAF05C-5F81-4746-ABF6-D5F5DDEDF24B}"/>
          </ac:graphicFrameMkLst>
        </pc:graphicFrameChg>
        <pc:graphicFrameChg chg="add del mod replST">
          <ac:chgData name="Lim, Sharon" userId="9ed40bdc-079d-4cee-a990-4411351f7f9c" providerId="ADAL" clId="{DD93C774-82BE-4DBD-AB5E-BA44CCD0E829}" dt="2023-08-31T09:02:32.002" v="12049"/>
          <ac:graphicFrameMkLst>
            <pc:docMk/>
            <pc:sldMk cId="3793799286" sldId="309"/>
            <ac:graphicFrameMk id="58" creationId="{AC427E50-A92E-C224-CCD6-19B66ACC9944}"/>
          </ac:graphicFrameMkLst>
        </pc:graphicFrameChg>
        <pc:graphicFrameChg chg="add del mod replST">
          <ac:chgData name="Lim, Sharon" userId="9ed40bdc-079d-4cee-a990-4411351f7f9c" providerId="ADAL" clId="{DD93C774-82BE-4DBD-AB5E-BA44CCD0E829}" dt="2023-08-31T09:02:35.661" v="12228"/>
          <ac:graphicFrameMkLst>
            <pc:docMk/>
            <pc:sldMk cId="3793799286" sldId="309"/>
            <ac:graphicFrameMk id="60" creationId="{229C92D1-BD7D-428C-3A38-BA85812A8594}"/>
          </ac:graphicFrameMkLst>
        </pc:graphicFrameChg>
        <pc:graphicFrameChg chg="add del mod replST">
          <ac:chgData name="Lim, Sharon" userId="9ed40bdc-079d-4cee-a990-4411351f7f9c" providerId="ADAL" clId="{DD93C774-82BE-4DBD-AB5E-BA44CCD0E829}" dt="2023-08-31T09:02:43.041" v="12328"/>
          <ac:graphicFrameMkLst>
            <pc:docMk/>
            <pc:sldMk cId="3793799286" sldId="309"/>
            <ac:graphicFrameMk id="62" creationId="{AB87CE08-7422-C554-4E5B-5A0E206156A5}"/>
          </ac:graphicFrameMkLst>
        </pc:graphicFrameChg>
        <pc:graphicFrameChg chg="add del mod replST">
          <ac:chgData name="Lim, Sharon" userId="9ed40bdc-079d-4cee-a990-4411351f7f9c" providerId="ADAL" clId="{DD93C774-82BE-4DBD-AB5E-BA44CCD0E829}" dt="2023-08-31T09:02:47.134" v="12404"/>
          <ac:graphicFrameMkLst>
            <pc:docMk/>
            <pc:sldMk cId="3793799286" sldId="309"/>
            <ac:graphicFrameMk id="64" creationId="{1953CFED-7BC9-8151-FFEB-7679575ECB75}"/>
          </ac:graphicFrameMkLst>
        </pc:graphicFrameChg>
        <pc:graphicFrameChg chg="add del mod replST">
          <ac:chgData name="Lim, Sharon" userId="9ed40bdc-079d-4cee-a990-4411351f7f9c" providerId="ADAL" clId="{DD93C774-82BE-4DBD-AB5E-BA44CCD0E829}" dt="2023-08-31T09:02:52.196" v="12480"/>
          <ac:graphicFrameMkLst>
            <pc:docMk/>
            <pc:sldMk cId="3793799286" sldId="309"/>
            <ac:graphicFrameMk id="66" creationId="{0B12F12C-C03B-97A5-148F-94353BB3A269}"/>
          </ac:graphicFrameMkLst>
        </pc:graphicFrameChg>
        <pc:graphicFrameChg chg="add del mod replST">
          <ac:chgData name="Lim, Sharon" userId="9ed40bdc-079d-4cee-a990-4411351f7f9c" providerId="ADAL" clId="{DD93C774-82BE-4DBD-AB5E-BA44CCD0E829}" dt="2023-08-31T09:02:57.384" v="12556"/>
          <ac:graphicFrameMkLst>
            <pc:docMk/>
            <pc:sldMk cId="3793799286" sldId="309"/>
            <ac:graphicFrameMk id="68" creationId="{FB2060B9-61A7-8AF4-94C5-FFF67DCDDF76}"/>
          </ac:graphicFrameMkLst>
        </pc:graphicFrameChg>
        <pc:graphicFrameChg chg="add del mod replST">
          <ac:chgData name="Lim, Sharon" userId="9ed40bdc-079d-4cee-a990-4411351f7f9c" providerId="ADAL" clId="{DD93C774-82BE-4DBD-AB5E-BA44CCD0E829}" dt="2023-08-31T09:03:00.409" v="12632"/>
          <ac:graphicFrameMkLst>
            <pc:docMk/>
            <pc:sldMk cId="3793799286" sldId="309"/>
            <ac:graphicFrameMk id="70" creationId="{A22FF74D-7A9E-94A5-15CF-1A8E1FA92725}"/>
          </ac:graphicFrameMkLst>
        </pc:graphicFrameChg>
        <pc:graphicFrameChg chg="add del mod replST">
          <ac:chgData name="Lim, Sharon" userId="9ed40bdc-079d-4cee-a990-4411351f7f9c" providerId="ADAL" clId="{DD93C774-82BE-4DBD-AB5E-BA44CCD0E829}" dt="2023-08-31T09:03:03.184" v="12708"/>
          <ac:graphicFrameMkLst>
            <pc:docMk/>
            <pc:sldMk cId="3793799286" sldId="309"/>
            <ac:graphicFrameMk id="72" creationId="{C655EA53-64BD-3A3F-6650-25AD4AA1D757}"/>
          </ac:graphicFrameMkLst>
        </pc:graphicFrameChg>
        <pc:graphicFrameChg chg="add del mod replST">
          <ac:chgData name="Lim, Sharon" userId="9ed40bdc-079d-4cee-a990-4411351f7f9c" providerId="ADAL" clId="{DD93C774-82BE-4DBD-AB5E-BA44CCD0E829}" dt="2023-08-31T09:03:05.815" v="12784"/>
          <ac:graphicFrameMkLst>
            <pc:docMk/>
            <pc:sldMk cId="3793799286" sldId="309"/>
            <ac:graphicFrameMk id="74" creationId="{226A937A-CD32-C09E-E6D6-89D16D780118}"/>
          </ac:graphicFrameMkLst>
        </pc:graphicFrameChg>
        <pc:graphicFrameChg chg="add del mod replST">
          <ac:chgData name="Lim, Sharon" userId="9ed40bdc-079d-4cee-a990-4411351f7f9c" providerId="ADAL" clId="{DD93C774-82BE-4DBD-AB5E-BA44CCD0E829}" dt="2023-08-31T09:03:08.710" v="12860"/>
          <ac:graphicFrameMkLst>
            <pc:docMk/>
            <pc:sldMk cId="3793799286" sldId="309"/>
            <ac:graphicFrameMk id="76" creationId="{F0BBF6C3-E046-83DD-3BA2-6114E09394D3}"/>
          </ac:graphicFrameMkLst>
        </pc:graphicFrameChg>
        <pc:graphicFrameChg chg="add del mod replST">
          <ac:chgData name="Lim, Sharon" userId="9ed40bdc-079d-4cee-a990-4411351f7f9c" providerId="ADAL" clId="{DD93C774-82BE-4DBD-AB5E-BA44CCD0E829}" dt="2023-08-31T09:03:12.883" v="12938"/>
          <ac:graphicFrameMkLst>
            <pc:docMk/>
            <pc:sldMk cId="3793799286" sldId="309"/>
            <ac:graphicFrameMk id="78" creationId="{219D338B-2064-09D7-F9D4-06E93DB1D4F5}"/>
          </ac:graphicFrameMkLst>
        </pc:graphicFrameChg>
        <pc:graphicFrameChg chg="add del mod replST">
          <ac:chgData name="Lim, Sharon" userId="9ed40bdc-079d-4cee-a990-4411351f7f9c" providerId="ADAL" clId="{DD93C774-82BE-4DBD-AB5E-BA44CCD0E829}" dt="2023-08-31T09:03:40.287" v="13012"/>
          <ac:graphicFrameMkLst>
            <pc:docMk/>
            <pc:sldMk cId="3793799286" sldId="309"/>
            <ac:graphicFrameMk id="80" creationId="{897BA2C1-D796-78AA-6E68-D6C4610BC8D6}"/>
          </ac:graphicFrameMkLst>
        </pc:graphicFrameChg>
        <pc:graphicFrameChg chg="add del mod replST">
          <ac:chgData name="Lim, Sharon" userId="9ed40bdc-079d-4cee-a990-4411351f7f9c" providerId="ADAL" clId="{DD93C774-82BE-4DBD-AB5E-BA44CCD0E829}" dt="2023-08-31T09:03:53.499" v="13087"/>
          <ac:graphicFrameMkLst>
            <pc:docMk/>
            <pc:sldMk cId="3793799286" sldId="309"/>
            <ac:graphicFrameMk id="82" creationId="{890C2CEE-ADBD-A137-F6C7-EAA13383E882}"/>
          </ac:graphicFrameMkLst>
        </pc:graphicFrameChg>
        <pc:graphicFrameChg chg="add del mod replST">
          <ac:chgData name="Lim, Sharon" userId="9ed40bdc-079d-4cee-a990-4411351f7f9c" providerId="ADAL" clId="{DD93C774-82BE-4DBD-AB5E-BA44CCD0E829}" dt="2023-08-31T09:04:06.759" v="13162"/>
          <ac:graphicFrameMkLst>
            <pc:docMk/>
            <pc:sldMk cId="3793799286" sldId="309"/>
            <ac:graphicFrameMk id="84" creationId="{EB617FBC-DAFF-1769-E880-E537C03A5575}"/>
          </ac:graphicFrameMkLst>
        </pc:graphicFrameChg>
        <pc:graphicFrameChg chg="add del mod replST">
          <ac:chgData name="Lim, Sharon" userId="9ed40bdc-079d-4cee-a990-4411351f7f9c" providerId="ADAL" clId="{DD93C774-82BE-4DBD-AB5E-BA44CCD0E829}" dt="2023-08-31T09:04:10.819" v="13257"/>
          <ac:graphicFrameMkLst>
            <pc:docMk/>
            <pc:sldMk cId="3793799286" sldId="309"/>
            <ac:graphicFrameMk id="86" creationId="{BA339DE6-6C60-FE1C-9CA1-3B66468A72BD}"/>
          </ac:graphicFrameMkLst>
        </pc:graphicFrameChg>
        <pc:graphicFrameChg chg="add del mod replST">
          <ac:chgData name="Lim, Sharon" userId="9ed40bdc-079d-4cee-a990-4411351f7f9c" providerId="ADAL" clId="{DD93C774-82BE-4DBD-AB5E-BA44CCD0E829}" dt="2023-08-31T09:04:13.891" v="13331"/>
          <ac:graphicFrameMkLst>
            <pc:docMk/>
            <pc:sldMk cId="3793799286" sldId="309"/>
            <ac:graphicFrameMk id="88" creationId="{9BA8FC20-9A33-AE83-7B5D-79FBD93FA44D}"/>
          </ac:graphicFrameMkLst>
        </pc:graphicFrameChg>
        <pc:graphicFrameChg chg="add del mod replST">
          <ac:chgData name="Lim, Sharon" userId="9ed40bdc-079d-4cee-a990-4411351f7f9c" providerId="ADAL" clId="{DD93C774-82BE-4DBD-AB5E-BA44CCD0E829}" dt="2023-08-31T09:04:26.215" v="13584"/>
          <ac:graphicFrameMkLst>
            <pc:docMk/>
            <pc:sldMk cId="3793799286" sldId="309"/>
            <ac:graphicFrameMk id="90" creationId="{140EC376-B7B3-C9B2-C056-750C5CBF4E52}"/>
          </ac:graphicFrameMkLst>
        </pc:graphicFrameChg>
        <pc:graphicFrameChg chg="add del mod replST">
          <ac:chgData name="Lim, Sharon" userId="9ed40bdc-079d-4cee-a990-4411351f7f9c" providerId="ADAL" clId="{DD93C774-82BE-4DBD-AB5E-BA44CCD0E829}" dt="2023-08-31T09:04:38.972" v="13780"/>
          <ac:graphicFrameMkLst>
            <pc:docMk/>
            <pc:sldMk cId="3793799286" sldId="309"/>
            <ac:graphicFrameMk id="95" creationId="{9E81AEA4-35C9-C786-89B2-3335E1803F04}"/>
          </ac:graphicFrameMkLst>
        </pc:graphicFrameChg>
        <pc:graphicFrameChg chg="add del mod replST">
          <ac:chgData name="Lim, Sharon" userId="9ed40bdc-079d-4cee-a990-4411351f7f9c" providerId="ADAL" clId="{DD93C774-82BE-4DBD-AB5E-BA44CCD0E829}" dt="2023-08-31T09:04:51.568" v="13882"/>
          <ac:graphicFrameMkLst>
            <pc:docMk/>
            <pc:sldMk cId="3793799286" sldId="309"/>
            <ac:graphicFrameMk id="104" creationId="{3CC00AEB-1E72-BCAA-D3B7-5FD279E0E384}"/>
          </ac:graphicFrameMkLst>
        </pc:graphicFrameChg>
        <pc:graphicFrameChg chg="add del mod replST">
          <ac:chgData name="Lim, Sharon" userId="9ed40bdc-079d-4cee-a990-4411351f7f9c" providerId="ADAL" clId="{DD93C774-82BE-4DBD-AB5E-BA44CCD0E829}" dt="2023-08-31T09:04:53.768" v="13977"/>
          <ac:graphicFrameMkLst>
            <pc:docMk/>
            <pc:sldMk cId="3793799286" sldId="309"/>
            <ac:graphicFrameMk id="106" creationId="{7BCA34BD-CB90-AA68-F7D2-BEBFA4AC90C4}"/>
          </ac:graphicFrameMkLst>
        </pc:graphicFrameChg>
        <pc:graphicFrameChg chg="add del mod replST">
          <ac:chgData name="Lim, Sharon" userId="9ed40bdc-079d-4cee-a990-4411351f7f9c" providerId="ADAL" clId="{DD93C774-82BE-4DBD-AB5E-BA44CCD0E829}" dt="2023-08-31T09:04:55.704" v="14072"/>
          <ac:graphicFrameMkLst>
            <pc:docMk/>
            <pc:sldMk cId="3793799286" sldId="309"/>
            <ac:graphicFrameMk id="108" creationId="{503814F5-DF23-DB42-D046-3E8D834F7479}"/>
          </ac:graphicFrameMkLst>
        </pc:graphicFrameChg>
        <pc:graphicFrameChg chg="add del mod replST">
          <ac:chgData name="Lim, Sharon" userId="9ed40bdc-079d-4cee-a990-4411351f7f9c" providerId="ADAL" clId="{DD93C774-82BE-4DBD-AB5E-BA44CCD0E829}" dt="2023-08-31T09:05:00.073" v="14391"/>
          <ac:graphicFrameMkLst>
            <pc:docMk/>
            <pc:sldMk cId="3793799286" sldId="309"/>
            <ac:graphicFrameMk id="110" creationId="{81C0DB2F-B5A5-B9CA-CF7C-7B12AC1EA176}"/>
          </ac:graphicFrameMkLst>
        </pc:graphicFrameChg>
        <pc:graphicFrameChg chg="add del mod replST">
          <ac:chgData name="Lim, Sharon" userId="9ed40bdc-079d-4cee-a990-4411351f7f9c" providerId="ADAL" clId="{DD93C774-82BE-4DBD-AB5E-BA44CCD0E829}" dt="2023-08-31T09:05:04.131" v="14492"/>
          <ac:graphicFrameMkLst>
            <pc:docMk/>
            <pc:sldMk cId="3793799286" sldId="309"/>
            <ac:graphicFrameMk id="112" creationId="{EF1C79D0-C4A5-DBCA-6BA7-57688E1E5709}"/>
          </ac:graphicFrameMkLst>
        </pc:graphicFrameChg>
        <pc:graphicFrameChg chg="add del mod replST">
          <ac:chgData name="Lim, Sharon" userId="9ed40bdc-079d-4cee-a990-4411351f7f9c" providerId="ADAL" clId="{DD93C774-82BE-4DBD-AB5E-BA44CCD0E829}" dt="2023-08-31T09:05:06.292" v="14655"/>
          <ac:graphicFrameMkLst>
            <pc:docMk/>
            <pc:sldMk cId="3793799286" sldId="309"/>
            <ac:graphicFrameMk id="114" creationId="{5A90686B-5607-4989-EA07-62C3642613C4}"/>
          </ac:graphicFrameMkLst>
        </pc:graphicFrameChg>
        <pc:graphicFrameChg chg="add del mod replST">
          <ac:chgData name="Lim, Sharon" userId="9ed40bdc-079d-4cee-a990-4411351f7f9c" providerId="ADAL" clId="{DD93C774-82BE-4DBD-AB5E-BA44CCD0E829}" dt="2023-08-31T09:05:42.277" v="14896"/>
          <ac:graphicFrameMkLst>
            <pc:docMk/>
            <pc:sldMk cId="3793799286" sldId="309"/>
            <ac:graphicFrameMk id="116" creationId="{8D81475A-A58A-034E-AD7F-858694EFBAE6}"/>
          </ac:graphicFrameMkLst>
        </pc:graphicFrameChg>
        <pc:graphicFrameChg chg="add del mod replST">
          <ac:chgData name="Lim, Sharon" userId="9ed40bdc-079d-4cee-a990-4411351f7f9c" providerId="ADAL" clId="{DD93C774-82BE-4DBD-AB5E-BA44CCD0E829}" dt="2023-08-31T09:05:56.150" v="15501"/>
          <ac:graphicFrameMkLst>
            <pc:docMk/>
            <pc:sldMk cId="3793799286" sldId="309"/>
            <ac:graphicFrameMk id="118" creationId="{A334052F-4901-9FC1-1485-3BEBF50F21F8}"/>
          </ac:graphicFrameMkLst>
        </pc:graphicFrameChg>
        <pc:graphicFrameChg chg="add mod replST delST">
          <ac:chgData name="Lim, Sharon" userId="9ed40bdc-079d-4cee-a990-4411351f7f9c" providerId="ADAL" clId="{DD93C774-82BE-4DBD-AB5E-BA44CCD0E829}" dt="2023-08-31T09:05:52.124" v="15265"/>
          <ac:graphicFrameMkLst>
            <pc:docMk/>
            <pc:sldMk cId="3793799286" sldId="309"/>
            <ac:graphicFrameMk id="120" creationId="{984BF14C-517E-C175-FC4C-D61D3C577EED}"/>
          </ac:graphicFrameMkLst>
        </pc:graphicFrameChg>
        <pc:graphicFrameChg chg="add del mod replST">
          <ac:chgData name="Lim, Sharon" userId="9ed40bdc-079d-4cee-a990-4411351f7f9c" providerId="ADAL" clId="{DD93C774-82BE-4DBD-AB5E-BA44CCD0E829}" dt="2023-08-31T09:06:00.447" v="16057"/>
          <ac:graphicFrameMkLst>
            <pc:docMk/>
            <pc:sldMk cId="3793799286" sldId="309"/>
            <ac:graphicFrameMk id="122" creationId="{B5686EE0-D937-F502-5C55-461A58D89CED}"/>
          </ac:graphicFrameMkLst>
        </pc:graphicFrameChg>
        <pc:graphicFrameChg chg="add del mod replST">
          <ac:chgData name="Lim, Sharon" userId="9ed40bdc-079d-4cee-a990-4411351f7f9c" providerId="ADAL" clId="{DD93C774-82BE-4DBD-AB5E-BA44CCD0E829}" dt="2023-08-31T09:06:02.143" v="16173"/>
          <ac:graphicFrameMkLst>
            <pc:docMk/>
            <pc:sldMk cId="3793799286" sldId="309"/>
            <ac:graphicFrameMk id="132" creationId="{9EB3AD36-4ED9-5269-DD15-758313FC8BA4}"/>
          </ac:graphicFrameMkLst>
        </pc:graphicFrameChg>
        <pc:graphicFrameChg chg="add del mod replST">
          <ac:chgData name="Lim, Sharon" userId="9ed40bdc-079d-4cee-a990-4411351f7f9c" providerId="ADAL" clId="{DD93C774-82BE-4DBD-AB5E-BA44CCD0E829}" dt="2023-08-31T09:06:05.105" v="16725"/>
          <ac:graphicFrameMkLst>
            <pc:docMk/>
            <pc:sldMk cId="3793799286" sldId="309"/>
            <ac:graphicFrameMk id="134" creationId="{E5044A13-27D0-613A-3B71-A29047EB428A}"/>
          </ac:graphicFrameMkLst>
        </pc:graphicFrameChg>
        <pc:graphicFrameChg chg="add del mod replST">
          <ac:chgData name="Lim, Sharon" userId="9ed40bdc-079d-4cee-a990-4411351f7f9c" providerId="ADAL" clId="{DD93C774-82BE-4DBD-AB5E-BA44CCD0E829}" dt="2023-08-31T09:06:06.287" v="16841"/>
          <ac:graphicFrameMkLst>
            <pc:docMk/>
            <pc:sldMk cId="3793799286" sldId="309"/>
            <ac:graphicFrameMk id="144" creationId="{0CA083B6-5E2F-6A8A-522F-B6AFF8190D98}"/>
          </ac:graphicFrameMkLst>
        </pc:graphicFrameChg>
        <pc:graphicFrameChg chg="add del mod replST">
          <ac:chgData name="Lim, Sharon" userId="9ed40bdc-079d-4cee-a990-4411351f7f9c" providerId="ADAL" clId="{DD93C774-82BE-4DBD-AB5E-BA44CCD0E829}" dt="2023-08-31T09:06:24.450" v="18476"/>
          <ac:graphicFrameMkLst>
            <pc:docMk/>
            <pc:sldMk cId="3793799286" sldId="309"/>
            <ac:graphicFrameMk id="146" creationId="{161043D9-B3CB-9040-1FF3-1025FA40484D}"/>
          </ac:graphicFrameMkLst>
        </pc:graphicFrameChg>
        <pc:graphicFrameChg chg="add mod replST delST">
          <ac:chgData name="Lim, Sharon" userId="9ed40bdc-079d-4cee-a990-4411351f7f9c" providerId="ADAL" clId="{DD93C774-82BE-4DBD-AB5E-BA44CCD0E829}" dt="2023-08-31T09:06:21.530" v="17852"/>
          <ac:graphicFrameMkLst>
            <pc:docMk/>
            <pc:sldMk cId="3793799286" sldId="309"/>
            <ac:graphicFrameMk id="165" creationId="{9AAB56DD-5830-EBF5-985D-02F1628A3747}"/>
          </ac:graphicFrameMkLst>
        </pc:graphicFrameChg>
        <pc:graphicFrameChg chg="add del mod replST">
          <ac:chgData name="Lim, Sharon" userId="9ed40bdc-079d-4cee-a990-4411351f7f9c" providerId="ADAL" clId="{DD93C774-82BE-4DBD-AB5E-BA44CCD0E829}" dt="2023-08-31T09:06:25.660" v="18592"/>
          <ac:graphicFrameMkLst>
            <pc:docMk/>
            <pc:sldMk cId="3793799286" sldId="309"/>
            <ac:graphicFrameMk id="175" creationId="{A81EC650-24F2-6978-3716-FD286EBED0CE}"/>
          </ac:graphicFrameMkLst>
        </pc:graphicFrameChg>
        <pc:graphicFrameChg chg="add del mod replST">
          <ac:chgData name="Lim, Sharon" userId="9ed40bdc-079d-4cee-a990-4411351f7f9c" providerId="ADAL" clId="{DD93C774-82BE-4DBD-AB5E-BA44CCD0E829}" dt="2023-08-31T09:06:35.197" v="19143"/>
          <ac:graphicFrameMkLst>
            <pc:docMk/>
            <pc:sldMk cId="3793799286" sldId="309"/>
            <ac:graphicFrameMk id="177" creationId="{42349246-4B71-620A-C163-2E6B9852B78A}"/>
          </ac:graphicFrameMkLst>
        </pc:graphicFrameChg>
        <pc:graphicFrameChg chg="add del mod replST">
          <ac:chgData name="Lim, Sharon" userId="9ed40bdc-079d-4cee-a990-4411351f7f9c" providerId="ADAL" clId="{DD93C774-82BE-4DBD-AB5E-BA44CCD0E829}" dt="2023-08-31T09:07:07.590" v="22251"/>
          <ac:graphicFrameMkLst>
            <pc:docMk/>
            <pc:sldMk cId="3793799286" sldId="309"/>
            <ac:graphicFrameMk id="196" creationId="{CAE9CA11-269B-DF98-1603-37004A20BCD4}"/>
          </ac:graphicFrameMkLst>
        </pc:graphicFrameChg>
        <pc:graphicFrameChg chg="add mod replST delST">
          <ac:chgData name="Lim, Sharon" userId="9ed40bdc-079d-4cee-a990-4411351f7f9c" providerId="ADAL" clId="{DD93C774-82BE-4DBD-AB5E-BA44CCD0E829}" dt="2023-08-31T09:06:53.524" v="21044"/>
          <ac:graphicFrameMkLst>
            <pc:docMk/>
            <pc:sldMk cId="3793799286" sldId="309"/>
            <ac:graphicFrameMk id="215" creationId="{867931DC-A8C2-2911-59F1-D2E209619E66}"/>
          </ac:graphicFrameMkLst>
        </pc:graphicFrameChg>
        <pc:graphicFrameChg chg="add del mod replST">
          <ac:chgData name="Lim, Sharon" userId="9ed40bdc-079d-4cee-a990-4411351f7f9c" providerId="ADAL" clId="{DD93C774-82BE-4DBD-AB5E-BA44CCD0E829}" dt="2023-08-31T09:07:08.543" v="22424"/>
          <ac:graphicFrameMkLst>
            <pc:docMk/>
            <pc:sldMk cId="3793799286" sldId="309"/>
            <ac:graphicFrameMk id="235" creationId="{6F87B7B4-7734-6567-5F46-9731F5A9ECD1}"/>
          </ac:graphicFrameMkLst>
        </pc:graphicFrameChg>
        <pc:graphicFrameChg chg="add del mod replST">
          <ac:chgData name="Lim, Sharon" userId="9ed40bdc-079d-4cee-a990-4411351f7f9c" providerId="ADAL" clId="{DD93C774-82BE-4DBD-AB5E-BA44CCD0E829}" dt="2023-08-31T09:07:12.149" v="23516"/>
          <ac:graphicFrameMkLst>
            <pc:docMk/>
            <pc:sldMk cId="3793799286" sldId="309"/>
            <ac:graphicFrameMk id="237" creationId="{C8E340B4-6F4F-7465-90E4-C557F6273251}"/>
          </ac:graphicFrameMkLst>
        </pc:graphicFrameChg>
        <pc:graphicFrameChg chg="add del mod replST">
          <ac:chgData name="Lim, Sharon" userId="9ed40bdc-079d-4cee-a990-4411351f7f9c" providerId="ADAL" clId="{DD93C774-82BE-4DBD-AB5E-BA44CCD0E829}" dt="2023-08-31T09:07:13.894" v="23669"/>
          <ac:graphicFrameMkLst>
            <pc:docMk/>
            <pc:sldMk cId="3793799286" sldId="309"/>
            <ac:graphicFrameMk id="256" creationId="{D0D22AC4-27B8-F104-81C5-83693BAB8DA6}"/>
          </ac:graphicFrameMkLst>
        </pc:graphicFrameChg>
        <pc:graphicFrameChg chg="add del mod replST">
          <ac:chgData name="Lim, Sharon" userId="9ed40bdc-079d-4cee-a990-4411351f7f9c" providerId="ADAL" clId="{DD93C774-82BE-4DBD-AB5E-BA44CCD0E829}" dt="2023-08-31T09:07:15.602" v="23820"/>
          <ac:graphicFrameMkLst>
            <pc:docMk/>
            <pc:sldMk cId="3793799286" sldId="309"/>
            <ac:graphicFrameMk id="258" creationId="{120FD59F-8FB7-5A3C-D68F-B3C23D2CF3DD}"/>
          </ac:graphicFrameMkLst>
        </pc:graphicFrameChg>
        <pc:graphicFrameChg chg="add del mod replST">
          <ac:chgData name="Lim, Sharon" userId="9ed40bdc-079d-4cee-a990-4411351f7f9c" providerId="ADAL" clId="{DD93C774-82BE-4DBD-AB5E-BA44CCD0E829}" dt="2023-08-31T09:07:17.119" v="23969"/>
          <ac:graphicFrameMkLst>
            <pc:docMk/>
            <pc:sldMk cId="3793799286" sldId="309"/>
            <ac:graphicFrameMk id="260" creationId="{4AF41E29-FBCF-3A22-5F75-24270FA7E48F}"/>
          </ac:graphicFrameMkLst>
        </pc:graphicFrameChg>
        <pc:graphicFrameChg chg="add del mod replST">
          <ac:chgData name="Lim, Sharon" userId="9ed40bdc-079d-4cee-a990-4411351f7f9c" providerId="ADAL" clId="{DD93C774-82BE-4DBD-AB5E-BA44CCD0E829}" dt="2023-08-31T09:07:18.673" v="24116"/>
          <ac:graphicFrameMkLst>
            <pc:docMk/>
            <pc:sldMk cId="3793799286" sldId="309"/>
            <ac:graphicFrameMk id="262" creationId="{49799757-6D91-299A-88B6-F1E13DF6A162}"/>
          </ac:graphicFrameMkLst>
        </pc:graphicFrameChg>
        <pc:graphicFrameChg chg="add del mod replST">
          <ac:chgData name="Lim, Sharon" userId="9ed40bdc-079d-4cee-a990-4411351f7f9c" providerId="ADAL" clId="{DD93C774-82BE-4DBD-AB5E-BA44CCD0E829}" dt="2023-08-31T09:07:20.201" v="24261"/>
          <ac:graphicFrameMkLst>
            <pc:docMk/>
            <pc:sldMk cId="3793799286" sldId="309"/>
            <ac:graphicFrameMk id="264" creationId="{F47A5D47-A32C-F533-33E6-C415862D9220}"/>
          </ac:graphicFrameMkLst>
        </pc:graphicFrameChg>
        <pc:graphicFrameChg chg="add del mod replST">
          <ac:chgData name="Lim, Sharon" userId="9ed40bdc-079d-4cee-a990-4411351f7f9c" providerId="ADAL" clId="{DD93C774-82BE-4DBD-AB5E-BA44CCD0E829}" dt="2023-08-31T09:07:21.699" v="24404"/>
          <ac:graphicFrameMkLst>
            <pc:docMk/>
            <pc:sldMk cId="3793799286" sldId="309"/>
            <ac:graphicFrameMk id="266" creationId="{D2EA1805-64DE-42BF-36DA-6E62798D9739}"/>
          </ac:graphicFrameMkLst>
        </pc:graphicFrameChg>
        <pc:graphicFrameChg chg="add del mod replST">
          <ac:chgData name="Lim, Sharon" userId="9ed40bdc-079d-4cee-a990-4411351f7f9c" providerId="ADAL" clId="{DD93C774-82BE-4DBD-AB5E-BA44CCD0E829}" dt="2023-08-31T09:07:23.202" v="24545"/>
          <ac:graphicFrameMkLst>
            <pc:docMk/>
            <pc:sldMk cId="3793799286" sldId="309"/>
            <ac:graphicFrameMk id="268" creationId="{B8C89961-BF51-18E8-B76C-C1FBD55B10EA}"/>
          </ac:graphicFrameMkLst>
        </pc:graphicFrameChg>
        <pc:graphicFrameChg chg="add del mod replST">
          <ac:chgData name="Lim, Sharon" userId="9ed40bdc-079d-4cee-a990-4411351f7f9c" providerId="ADAL" clId="{DD93C774-82BE-4DBD-AB5E-BA44CCD0E829}" dt="2023-08-31T09:07:25.697" v="24686"/>
          <ac:graphicFrameMkLst>
            <pc:docMk/>
            <pc:sldMk cId="3793799286" sldId="309"/>
            <ac:graphicFrameMk id="270" creationId="{C9B251DE-1474-D09A-2B62-905FB649FA45}"/>
          </ac:graphicFrameMkLst>
        </pc:graphicFrameChg>
        <pc:graphicFrameChg chg="add del mod replST">
          <ac:chgData name="Lim, Sharon" userId="9ed40bdc-079d-4cee-a990-4411351f7f9c" providerId="ADAL" clId="{DD93C774-82BE-4DBD-AB5E-BA44CCD0E829}" dt="2023-08-31T09:07:27.561" v="24825"/>
          <ac:graphicFrameMkLst>
            <pc:docMk/>
            <pc:sldMk cId="3793799286" sldId="309"/>
            <ac:graphicFrameMk id="272" creationId="{DFBFCC6A-2952-84FF-E65F-7D5342BC089B}"/>
          </ac:graphicFrameMkLst>
        </pc:graphicFrameChg>
        <pc:graphicFrameChg chg="add del mod replST">
          <ac:chgData name="Lim, Sharon" userId="9ed40bdc-079d-4cee-a990-4411351f7f9c" providerId="ADAL" clId="{DD93C774-82BE-4DBD-AB5E-BA44CCD0E829}" dt="2023-08-31T09:07:28.675" v="24962"/>
          <ac:graphicFrameMkLst>
            <pc:docMk/>
            <pc:sldMk cId="3793799286" sldId="309"/>
            <ac:graphicFrameMk id="274" creationId="{DCD6539C-CA2E-61B1-2D75-0BF5B77E97D9}"/>
          </ac:graphicFrameMkLst>
        </pc:graphicFrameChg>
        <pc:graphicFrameChg chg="add del mod replST">
          <ac:chgData name="Lim, Sharon" userId="9ed40bdc-079d-4cee-a990-4411351f7f9c" providerId="ADAL" clId="{DD93C774-82BE-4DBD-AB5E-BA44CCD0E829}" dt="2023-08-31T09:07:29.673" v="25097"/>
          <ac:graphicFrameMkLst>
            <pc:docMk/>
            <pc:sldMk cId="3793799286" sldId="309"/>
            <ac:graphicFrameMk id="276" creationId="{9764C825-B2B2-0901-E9A3-880057390008}"/>
          </ac:graphicFrameMkLst>
        </pc:graphicFrameChg>
        <pc:graphicFrameChg chg="add del mod replST">
          <ac:chgData name="Lim, Sharon" userId="9ed40bdc-079d-4cee-a990-4411351f7f9c" providerId="ADAL" clId="{DD93C774-82BE-4DBD-AB5E-BA44CCD0E829}" dt="2023-08-31T09:07:30.623" v="25230"/>
          <ac:graphicFrameMkLst>
            <pc:docMk/>
            <pc:sldMk cId="3793799286" sldId="309"/>
            <ac:graphicFrameMk id="278" creationId="{4AE5254E-1E9B-9DF5-AA48-74C70DD7E177}"/>
          </ac:graphicFrameMkLst>
        </pc:graphicFrameChg>
        <pc:graphicFrameChg chg="add del mod replST">
          <ac:chgData name="Lim, Sharon" userId="9ed40bdc-079d-4cee-a990-4411351f7f9c" providerId="ADAL" clId="{DD93C774-82BE-4DBD-AB5E-BA44CCD0E829}" dt="2023-08-31T09:07:31.635" v="25361"/>
          <ac:graphicFrameMkLst>
            <pc:docMk/>
            <pc:sldMk cId="3793799286" sldId="309"/>
            <ac:graphicFrameMk id="280" creationId="{106FEB65-21AF-41F7-C8D7-C39C199AD195}"/>
          </ac:graphicFrameMkLst>
        </pc:graphicFrameChg>
        <pc:graphicFrameChg chg="add del mod replST">
          <ac:chgData name="Lim, Sharon" userId="9ed40bdc-079d-4cee-a990-4411351f7f9c" providerId="ADAL" clId="{DD93C774-82BE-4DBD-AB5E-BA44CCD0E829}" dt="2023-08-31T09:07:32.590" v="25490"/>
          <ac:graphicFrameMkLst>
            <pc:docMk/>
            <pc:sldMk cId="3793799286" sldId="309"/>
            <ac:graphicFrameMk id="282" creationId="{0265FC3D-C34D-3776-1F3B-8F9A052A3509}"/>
          </ac:graphicFrameMkLst>
        </pc:graphicFrameChg>
        <pc:graphicFrameChg chg="add del mod replST">
          <ac:chgData name="Lim, Sharon" userId="9ed40bdc-079d-4cee-a990-4411351f7f9c" providerId="ADAL" clId="{DD93C774-82BE-4DBD-AB5E-BA44CCD0E829}" dt="2023-08-31T09:07:33.976" v="25619"/>
          <ac:graphicFrameMkLst>
            <pc:docMk/>
            <pc:sldMk cId="3793799286" sldId="309"/>
            <ac:graphicFrameMk id="284" creationId="{11ADAF09-C8E2-DC4A-460E-44783DA2CB80}"/>
          </ac:graphicFrameMkLst>
        </pc:graphicFrameChg>
        <pc:graphicFrameChg chg="add del mod replST">
          <ac:chgData name="Lim, Sharon" userId="9ed40bdc-079d-4cee-a990-4411351f7f9c" providerId="ADAL" clId="{DD93C774-82BE-4DBD-AB5E-BA44CCD0E829}" dt="2023-08-31T09:07:38.165" v="25739"/>
          <ac:graphicFrameMkLst>
            <pc:docMk/>
            <pc:sldMk cId="3793799286" sldId="309"/>
            <ac:graphicFrameMk id="286" creationId="{5FF3C3FD-E074-2A5C-FBC0-F75EDC27EAFD}"/>
          </ac:graphicFrameMkLst>
        </pc:graphicFrameChg>
        <pc:graphicFrameChg chg="add del mod replST">
          <ac:chgData name="Lim, Sharon" userId="9ed40bdc-079d-4cee-a990-4411351f7f9c" providerId="ADAL" clId="{DD93C774-82BE-4DBD-AB5E-BA44CCD0E829}" dt="2023-08-31T09:07:39.229" v="25934"/>
          <ac:graphicFrameMkLst>
            <pc:docMk/>
            <pc:sldMk cId="3793799286" sldId="309"/>
            <ac:graphicFrameMk id="288" creationId="{594246A2-9C82-7CDB-28B1-545F800D6848}"/>
          </ac:graphicFrameMkLst>
        </pc:graphicFrameChg>
        <pc:graphicFrameChg chg="add del mod replST">
          <ac:chgData name="Lim, Sharon" userId="9ed40bdc-079d-4cee-a990-4411351f7f9c" providerId="ADAL" clId="{DD93C774-82BE-4DBD-AB5E-BA44CCD0E829}" dt="2023-08-31T09:07:40.803" v="26054"/>
          <ac:graphicFrameMkLst>
            <pc:docMk/>
            <pc:sldMk cId="3793799286" sldId="309"/>
            <ac:graphicFrameMk id="290" creationId="{7CBD8457-F4A6-ECB3-ACC1-6CD4D7C3D8FF}"/>
          </ac:graphicFrameMkLst>
        </pc:graphicFrameChg>
        <pc:graphicFrameChg chg="add del mod replST">
          <ac:chgData name="Lim, Sharon" userId="9ed40bdc-079d-4cee-a990-4411351f7f9c" providerId="ADAL" clId="{DD93C774-82BE-4DBD-AB5E-BA44CCD0E829}" dt="2023-08-31T09:08:09.061" v="26258"/>
          <ac:graphicFrameMkLst>
            <pc:docMk/>
            <pc:sldMk cId="3793799286" sldId="309"/>
            <ac:graphicFrameMk id="292" creationId="{248E9BA1-0C52-FA24-3EA6-1EA940BA4EC0}"/>
          </ac:graphicFrameMkLst>
        </pc:graphicFrameChg>
        <pc:graphicFrameChg chg="add del mod replST">
          <ac:chgData name="Lim, Sharon" userId="9ed40bdc-079d-4cee-a990-4411351f7f9c" providerId="ADAL" clId="{DD93C774-82BE-4DBD-AB5E-BA44CCD0E829}" dt="2023-08-31T09:08:13.625" v="26452"/>
          <ac:graphicFrameMkLst>
            <pc:docMk/>
            <pc:sldMk cId="3793799286" sldId="309"/>
            <ac:graphicFrameMk id="295" creationId="{29F44562-0511-EE3B-DE79-4D780F18EA1F}"/>
          </ac:graphicFrameMkLst>
        </pc:graphicFrameChg>
        <pc:graphicFrameChg chg="add del mod replST">
          <ac:chgData name="Lim, Sharon" userId="9ed40bdc-079d-4cee-a990-4411351f7f9c" providerId="ADAL" clId="{DD93C774-82BE-4DBD-AB5E-BA44CCD0E829}" dt="2023-08-31T09:09:12.158" v="26773"/>
          <ac:graphicFrameMkLst>
            <pc:docMk/>
            <pc:sldMk cId="3793799286" sldId="309"/>
            <ac:graphicFrameMk id="297" creationId="{BFE5E483-C6A0-FD1B-D82E-B78D0F6B12BA}"/>
          </ac:graphicFrameMkLst>
        </pc:graphicFrameChg>
        <pc:graphicFrameChg chg="add del mod replST">
          <ac:chgData name="Lim, Sharon" userId="9ed40bdc-079d-4cee-a990-4411351f7f9c" providerId="ADAL" clId="{DD93C774-82BE-4DBD-AB5E-BA44CCD0E829}" dt="2023-08-31T09:13:48.199" v="27290"/>
          <ac:graphicFrameMkLst>
            <pc:docMk/>
            <pc:sldMk cId="3793799286" sldId="309"/>
            <ac:graphicFrameMk id="300" creationId="{8C302712-1C88-7331-4769-1A3352ABCBCF}"/>
          </ac:graphicFrameMkLst>
        </pc:graphicFrameChg>
        <pc:graphicFrameChg chg="add mod replST">
          <ac:chgData name="Lim, Sharon" userId="9ed40bdc-079d-4cee-a990-4411351f7f9c" providerId="ADAL" clId="{DD93C774-82BE-4DBD-AB5E-BA44CCD0E829}" dt="2023-08-31T09:24:54.504" v="28208"/>
          <ac:graphicFrameMkLst>
            <pc:docMk/>
            <pc:sldMk cId="3793799286" sldId="309"/>
            <ac:graphicFrameMk id="305" creationId="{11B0D806-AACA-4744-9A7D-9BA810E128DD}"/>
          </ac:graphicFrameMkLst>
        </pc:graphicFrameChg>
        <pc:cxnChg chg="add del mod ord replST">
          <ac:chgData name="Lim, Sharon" userId="9ed40bdc-079d-4cee-a990-4411351f7f9c" providerId="ADAL" clId="{DD93C774-82BE-4DBD-AB5E-BA44CCD0E829}" dt="2023-08-31T09:02:35.660" v="12226"/>
          <ac:cxnSpMkLst>
            <pc:docMk/>
            <pc:sldMk cId="3793799286" sldId="309"/>
            <ac:cxnSpMk id="40" creationId="{DC7BCD63-97B4-78F3-24DE-81832F9F4E32}"/>
          </ac:cxnSpMkLst>
        </pc:cxnChg>
        <pc:cxnChg chg="add del mod ord replST">
          <ac:chgData name="Lim, Sharon" userId="9ed40bdc-079d-4cee-a990-4411351f7f9c" providerId="ADAL" clId="{DD93C774-82BE-4DBD-AB5E-BA44CCD0E829}" dt="2023-08-31T09:02:35.413" v="12103"/>
          <ac:cxnSpMkLst>
            <pc:docMk/>
            <pc:sldMk cId="3793799286" sldId="309"/>
            <ac:cxnSpMk id="41" creationId="{1EE646AD-943B-14C8-BB6C-B0757B72FBF5}"/>
          </ac:cxnSpMkLst>
        </pc:cxnChg>
        <pc:cxnChg chg="add del mod ord replST">
          <ac:chgData name="Lim, Sharon" userId="9ed40bdc-079d-4cee-a990-4411351f7f9c" providerId="ADAL" clId="{DD93C774-82BE-4DBD-AB5E-BA44CCD0E829}" dt="2023-08-31T09:02:35.416" v="12106"/>
          <ac:cxnSpMkLst>
            <pc:docMk/>
            <pc:sldMk cId="3793799286" sldId="309"/>
            <ac:cxnSpMk id="42" creationId="{3B472B90-2EAD-2D74-DDC7-C8F5E09E87F5}"/>
          </ac:cxnSpMkLst>
        </pc:cxnChg>
        <pc:cxnChg chg="add del mod ord replST">
          <ac:chgData name="Lim, Sharon" userId="9ed40bdc-079d-4cee-a990-4411351f7f9c" providerId="ADAL" clId="{DD93C774-82BE-4DBD-AB5E-BA44CCD0E829}" dt="2023-08-31T09:06:33.998" v="18683"/>
          <ac:cxnSpMkLst>
            <pc:docMk/>
            <pc:sldMk cId="3793799286" sldId="309"/>
            <ac:cxnSpMk id="97" creationId="{6D8C535A-1814-F8B2-1A96-B143D3DEE6D8}"/>
          </ac:cxnSpMkLst>
        </pc:cxnChg>
        <pc:cxnChg chg="add mod ord replST">
          <ac:chgData name="Lim, Sharon" userId="9ed40bdc-079d-4cee-a990-4411351f7f9c" providerId="ADAL" clId="{DD93C774-82BE-4DBD-AB5E-BA44CCD0E829}" dt="2023-08-31T09:24:54.498" v="28195"/>
          <ac:cxnSpMkLst>
            <pc:docMk/>
            <pc:sldMk cId="3793799286" sldId="309"/>
            <ac:cxnSpMk id="98" creationId="{8DAFAC4F-3EB3-9F0A-4A9C-84F583EBFCB8}"/>
          </ac:cxnSpMkLst>
        </pc:cxnChg>
        <pc:cxnChg chg="add del mod ord replST">
          <ac:chgData name="Lim, Sharon" userId="9ed40bdc-079d-4cee-a990-4411351f7f9c" providerId="ADAL" clId="{DD93C774-82BE-4DBD-AB5E-BA44CCD0E829}" dt="2023-08-31T09:06:33.996" v="18681"/>
          <ac:cxnSpMkLst>
            <pc:docMk/>
            <pc:sldMk cId="3793799286" sldId="309"/>
            <ac:cxnSpMk id="99" creationId="{65175AD2-9409-0A52-3B6B-67128278B854}"/>
          </ac:cxnSpMkLst>
        </pc:cxnChg>
        <pc:cxnChg chg="add del mod ord replST">
          <ac:chgData name="Lim, Sharon" userId="9ed40bdc-079d-4cee-a990-4411351f7f9c" providerId="ADAL" clId="{DD93C774-82BE-4DBD-AB5E-BA44CCD0E829}" dt="2023-08-31T09:07:29.554" v="25040"/>
          <ac:cxnSpMkLst>
            <pc:docMk/>
            <pc:sldMk cId="3793799286" sldId="309"/>
            <ac:cxnSpMk id="100" creationId="{374C31AF-5B8D-7439-5E61-AE4CCFFFBEAD}"/>
          </ac:cxnSpMkLst>
        </pc:cxnChg>
        <pc:cxnChg chg="add del mod ord replST">
          <ac:chgData name="Lim, Sharon" userId="9ed40bdc-079d-4cee-a990-4411351f7f9c" providerId="ADAL" clId="{DD93C774-82BE-4DBD-AB5E-BA44CCD0E829}" dt="2023-08-31T09:06:33.994" v="18679"/>
          <ac:cxnSpMkLst>
            <pc:docMk/>
            <pc:sldMk cId="3793799286" sldId="309"/>
            <ac:cxnSpMk id="101" creationId="{427BC4AC-B71D-490B-3682-005D65AFB5FD}"/>
          </ac:cxnSpMkLst>
        </pc:cxnChg>
        <pc:cxnChg chg="add mod ord replST">
          <ac:chgData name="Lim, Sharon" userId="9ed40bdc-079d-4cee-a990-4411351f7f9c" providerId="ADAL" clId="{DD93C774-82BE-4DBD-AB5E-BA44CCD0E829}" dt="2023-08-31T09:24:54.502" v="28205"/>
          <ac:cxnSpMkLst>
            <pc:docMk/>
            <pc:sldMk cId="3793799286" sldId="309"/>
            <ac:cxnSpMk id="102" creationId="{F4538D00-4BD8-6433-C4C2-5FE70C55745A}"/>
          </ac:cxnSpMkLst>
        </pc:cxnChg>
        <pc:cxnChg chg="add del mod ord replST">
          <ac:chgData name="Lim, Sharon" userId="9ed40bdc-079d-4cee-a990-4411351f7f9c" providerId="ADAL" clId="{DD93C774-82BE-4DBD-AB5E-BA44CCD0E829}" dt="2023-08-31T09:06:33.992" v="18677"/>
          <ac:cxnSpMkLst>
            <pc:docMk/>
            <pc:sldMk cId="3793799286" sldId="309"/>
            <ac:cxnSpMk id="103" creationId="{047247A3-8918-C584-04F2-B4276F64CBDC}"/>
          </ac:cxnSpMkLst>
        </pc:cxnChg>
        <pc:cxnChg chg="add del mod ord replST delST">
          <ac:chgData name="Lim, Sharon" userId="9ed40bdc-079d-4cee-a990-4411351f7f9c" providerId="ADAL" clId="{DD93C774-82BE-4DBD-AB5E-BA44CCD0E829}" dt="2023-08-31T09:06:21.530" v="17852"/>
          <ac:cxnSpMkLst>
            <pc:docMk/>
            <pc:sldMk cId="3793799286" sldId="309"/>
            <ac:cxnSpMk id="151" creationId="{28AE7127-5090-F672-FDDA-4B86D7725F6B}"/>
          </ac:cxnSpMkLst>
        </pc:cxnChg>
        <pc:cxnChg chg="add del mod ord replST delST">
          <ac:chgData name="Lim, Sharon" userId="9ed40bdc-079d-4cee-a990-4411351f7f9c" providerId="ADAL" clId="{DD93C774-82BE-4DBD-AB5E-BA44CCD0E829}" dt="2023-08-31T09:06:21.530" v="17852"/>
          <ac:cxnSpMkLst>
            <pc:docMk/>
            <pc:sldMk cId="3793799286" sldId="309"/>
            <ac:cxnSpMk id="152" creationId="{D2FB6964-A90A-569B-61F7-D93864D001C7}"/>
          </ac:cxnSpMkLst>
        </pc:cxnChg>
        <pc:cxnChg chg="add del mod ord replST delST">
          <ac:chgData name="Lim, Sharon" userId="9ed40bdc-079d-4cee-a990-4411351f7f9c" providerId="ADAL" clId="{DD93C774-82BE-4DBD-AB5E-BA44CCD0E829}" dt="2023-08-31T09:06:21.530" v="17852"/>
          <ac:cxnSpMkLst>
            <pc:docMk/>
            <pc:sldMk cId="3793799286" sldId="309"/>
            <ac:cxnSpMk id="153" creationId="{63DCFEF8-8F86-1A02-CC62-9CF98FCEAE46}"/>
          </ac:cxnSpMkLst>
        </pc:cxnChg>
        <pc:cxnChg chg="add del mod ord replST delST">
          <ac:chgData name="Lim, Sharon" userId="9ed40bdc-079d-4cee-a990-4411351f7f9c" providerId="ADAL" clId="{DD93C774-82BE-4DBD-AB5E-BA44CCD0E829}" dt="2023-08-31T09:06:21.530" v="17852"/>
          <ac:cxnSpMkLst>
            <pc:docMk/>
            <pc:sldMk cId="3793799286" sldId="309"/>
            <ac:cxnSpMk id="154" creationId="{3FC38EFF-DEF2-34A5-19AF-C47ADEC11B77}"/>
          </ac:cxnSpMkLst>
        </pc:cxnChg>
        <pc:cxnChg chg="add del mod ord replST delST">
          <ac:chgData name="Lim, Sharon" userId="9ed40bdc-079d-4cee-a990-4411351f7f9c" providerId="ADAL" clId="{DD93C774-82BE-4DBD-AB5E-BA44CCD0E829}" dt="2023-08-31T09:06:21.530" v="17852"/>
          <ac:cxnSpMkLst>
            <pc:docMk/>
            <pc:sldMk cId="3793799286" sldId="309"/>
            <ac:cxnSpMk id="155" creationId="{EBF3FB5F-435B-55B1-4A16-32463376D66E}"/>
          </ac:cxnSpMkLst>
        </pc:cxnChg>
        <pc:cxnChg chg="add del mod ord replST delST">
          <ac:chgData name="Lim, Sharon" userId="9ed40bdc-079d-4cee-a990-4411351f7f9c" providerId="ADAL" clId="{DD93C774-82BE-4DBD-AB5E-BA44CCD0E829}" dt="2023-08-31T09:06:21.530" v="17852"/>
          <ac:cxnSpMkLst>
            <pc:docMk/>
            <pc:sldMk cId="3793799286" sldId="309"/>
            <ac:cxnSpMk id="156" creationId="{1694AD45-C6BC-C169-8EF7-4AA5DC5602DC}"/>
          </ac:cxnSpMkLst>
        </pc:cxnChg>
        <pc:cxnChg chg="add del mod ord replST delST">
          <ac:chgData name="Lim, Sharon" userId="9ed40bdc-079d-4cee-a990-4411351f7f9c" providerId="ADAL" clId="{DD93C774-82BE-4DBD-AB5E-BA44CCD0E829}" dt="2023-08-31T09:06:21.530" v="17852"/>
          <ac:cxnSpMkLst>
            <pc:docMk/>
            <pc:sldMk cId="3793799286" sldId="309"/>
            <ac:cxnSpMk id="157" creationId="{6B2665C2-D2DB-1912-030B-FA1F178F146D}"/>
          </ac:cxnSpMkLst>
        </pc:cxnChg>
        <pc:cxnChg chg="add del mod ord replST delST">
          <ac:chgData name="Lim, Sharon" userId="9ed40bdc-079d-4cee-a990-4411351f7f9c" providerId="ADAL" clId="{DD93C774-82BE-4DBD-AB5E-BA44CCD0E829}" dt="2023-08-31T09:06:21.530" v="17852"/>
          <ac:cxnSpMkLst>
            <pc:docMk/>
            <pc:sldMk cId="3793799286" sldId="309"/>
            <ac:cxnSpMk id="158" creationId="{09DB2801-1A4B-2439-65F9-B3C3D2F00BC7}"/>
          </ac:cxnSpMkLst>
        </pc:cxnChg>
        <pc:cxnChg chg="add del mod ord replST delST">
          <ac:chgData name="Lim, Sharon" userId="9ed40bdc-079d-4cee-a990-4411351f7f9c" providerId="ADAL" clId="{DD93C774-82BE-4DBD-AB5E-BA44CCD0E829}" dt="2023-08-31T09:06:21.530" v="17852"/>
          <ac:cxnSpMkLst>
            <pc:docMk/>
            <pc:sldMk cId="3793799286" sldId="309"/>
            <ac:cxnSpMk id="159" creationId="{FD19ACC3-9751-61E3-B83C-706C10255C0A}"/>
          </ac:cxnSpMkLst>
        </pc:cxnChg>
        <pc:cxnChg chg="add del mod ord replST delST">
          <ac:chgData name="Lim, Sharon" userId="9ed40bdc-079d-4cee-a990-4411351f7f9c" providerId="ADAL" clId="{DD93C774-82BE-4DBD-AB5E-BA44CCD0E829}" dt="2023-08-31T09:06:21.530" v="17852"/>
          <ac:cxnSpMkLst>
            <pc:docMk/>
            <pc:sldMk cId="3793799286" sldId="309"/>
            <ac:cxnSpMk id="160" creationId="{9B5C05C2-2EA3-8DB5-1719-78014C46291F}"/>
          </ac:cxnSpMkLst>
        </pc:cxnChg>
        <pc:cxnChg chg="add del mod ord replST delST">
          <ac:chgData name="Lim, Sharon" userId="9ed40bdc-079d-4cee-a990-4411351f7f9c" providerId="ADAL" clId="{DD93C774-82BE-4DBD-AB5E-BA44CCD0E829}" dt="2023-08-31T09:06:21.530" v="17852"/>
          <ac:cxnSpMkLst>
            <pc:docMk/>
            <pc:sldMk cId="3793799286" sldId="309"/>
            <ac:cxnSpMk id="161" creationId="{FF414C07-6BDD-D453-CB41-C3C63B87BAEE}"/>
          </ac:cxnSpMkLst>
        </pc:cxnChg>
        <pc:cxnChg chg="add del mod ord replST delST">
          <ac:chgData name="Lim, Sharon" userId="9ed40bdc-079d-4cee-a990-4411351f7f9c" providerId="ADAL" clId="{DD93C774-82BE-4DBD-AB5E-BA44CCD0E829}" dt="2023-08-31T09:06:21.530" v="17852"/>
          <ac:cxnSpMkLst>
            <pc:docMk/>
            <pc:sldMk cId="3793799286" sldId="309"/>
            <ac:cxnSpMk id="162" creationId="{613A8A34-B1D3-8A87-ABA8-3A961885AC6F}"/>
          </ac:cxnSpMkLst>
        </pc:cxnChg>
        <pc:cxnChg chg="add del mod ord replST delST">
          <ac:chgData name="Lim, Sharon" userId="9ed40bdc-079d-4cee-a990-4411351f7f9c" providerId="ADAL" clId="{DD93C774-82BE-4DBD-AB5E-BA44CCD0E829}" dt="2023-08-31T09:06:21.530" v="17852"/>
          <ac:cxnSpMkLst>
            <pc:docMk/>
            <pc:sldMk cId="3793799286" sldId="309"/>
            <ac:cxnSpMk id="163" creationId="{61211C3D-6923-F6D4-F0F4-1FFEA98DC33B}"/>
          </ac:cxnSpMkLst>
        </pc:cxnChg>
        <pc:cxnChg chg="add del mod ord replST delST">
          <ac:chgData name="Lim, Sharon" userId="9ed40bdc-079d-4cee-a990-4411351f7f9c" providerId="ADAL" clId="{DD93C774-82BE-4DBD-AB5E-BA44CCD0E829}" dt="2023-08-31T09:06:21.530" v="17852"/>
          <ac:cxnSpMkLst>
            <pc:docMk/>
            <pc:sldMk cId="3793799286" sldId="309"/>
            <ac:cxnSpMk id="164" creationId="{B1B4E003-6F4B-D9A8-9BFE-8FC27CC869E2}"/>
          </ac:cxnSpMkLst>
        </pc:cxnChg>
        <pc:cxnChg chg="add mod ord replST">
          <ac:chgData name="Lim, Sharon" userId="9ed40bdc-079d-4cee-a990-4411351f7f9c" providerId="ADAL" clId="{DD93C774-82BE-4DBD-AB5E-BA44CCD0E829}" dt="2023-08-31T09:24:54.497" v="28191"/>
          <ac:cxnSpMkLst>
            <pc:docMk/>
            <pc:sldMk cId="3793799286" sldId="309"/>
            <ac:cxnSpMk id="182" creationId="{C99902B9-0FA3-B68C-5B6F-2EF72C4B19E3}"/>
          </ac:cxnSpMkLst>
        </pc:cxnChg>
        <pc:cxnChg chg="add del mod ord replST">
          <ac:chgData name="Lim, Sharon" userId="9ed40bdc-079d-4cee-a990-4411351f7f9c" providerId="ADAL" clId="{DD93C774-82BE-4DBD-AB5E-BA44CCD0E829}" dt="2023-08-31T09:07:33.876" v="25560"/>
          <ac:cxnSpMkLst>
            <pc:docMk/>
            <pc:sldMk cId="3793799286" sldId="309"/>
            <ac:cxnSpMk id="183" creationId="{0D229697-7B7C-A0FB-D7BE-EBA91479D0F2}"/>
          </ac:cxnSpMkLst>
        </pc:cxnChg>
        <pc:cxnChg chg="add mod ord replST">
          <ac:chgData name="Lim, Sharon" userId="9ed40bdc-079d-4cee-a990-4411351f7f9c" providerId="ADAL" clId="{DD93C774-82BE-4DBD-AB5E-BA44CCD0E829}" dt="2023-08-31T09:24:54.497" v="28193"/>
          <ac:cxnSpMkLst>
            <pc:docMk/>
            <pc:sldMk cId="3793799286" sldId="309"/>
            <ac:cxnSpMk id="184" creationId="{ABCBEDE8-3DAE-F0D1-0536-3C04171F416B}"/>
          </ac:cxnSpMkLst>
        </pc:cxnChg>
        <pc:cxnChg chg="add del mod ord replST">
          <ac:chgData name="Lim, Sharon" userId="9ed40bdc-079d-4cee-a990-4411351f7f9c" providerId="ADAL" clId="{DD93C774-82BE-4DBD-AB5E-BA44CCD0E829}" dt="2023-08-31T09:07:32.489" v="25433"/>
          <ac:cxnSpMkLst>
            <pc:docMk/>
            <pc:sldMk cId="3793799286" sldId="309"/>
            <ac:cxnSpMk id="185" creationId="{D3B1DF02-8472-9C2A-E6AC-E93CF5DC53C6}"/>
          </ac:cxnSpMkLst>
        </pc:cxnChg>
        <pc:cxnChg chg="add del mod ord replST">
          <ac:chgData name="Lim, Sharon" userId="9ed40bdc-079d-4cee-a990-4411351f7f9c" providerId="ADAL" clId="{DD93C774-82BE-4DBD-AB5E-BA44CCD0E829}" dt="2023-08-31T09:07:31.533" v="25304"/>
          <ac:cxnSpMkLst>
            <pc:docMk/>
            <pc:sldMk cId="3793799286" sldId="309"/>
            <ac:cxnSpMk id="186" creationId="{A2834E50-B262-A456-4863-174BA8ECDBFE}"/>
          </ac:cxnSpMkLst>
        </pc:cxnChg>
        <pc:cxnChg chg="add mod ord replST">
          <ac:chgData name="Lim, Sharon" userId="9ed40bdc-079d-4cee-a990-4411351f7f9c" providerId="ADAL" clId="{DD93C774-82BE-4DBD-AB5E-BA44CCD0E829}" dt="2023-08-31T09:24:54.499" v="28197"/>
          <ac:cxnSpMkLst>
            <pc:docMk/>
            <pc:sldMk cId="3793799286" sldId="309"/>
            <ac:cxnSpMk id="187" creationId="{0218EC8E-0026-245D-50D0-282EDFF5C4EF}"/>
          </ac:cxnSpMkLst>
        </pc:cxnChg>
        <pc:cxnChg chg="add del mod ord replST">
          <ac:chgData name="Lim, Sharon" userId="9ed40bdc-079d-4cee-a990-4411351f7f9c" providerId="ADAL" clId="{DD93C774-82BE-4DBD-AB5E-BA44CCD0E829}" dt="2023-08-31T09:07:30.519" v="25173"/>
          <ac:cxnSpMkLst>
            <pc:docMk/>
            <pc:sldMk cId="3793799286" sldId="309"/>
            <ac:cxnSpMk id="188" creationId="{9DA2385F-C3CB-1E89-5989-AA345B6794C7}"/>
          </ac:cxnSpMkLst>
        </pc:cxnChg>
        <pc:cxnChg chg="add mod ord replST">
          <ac:chgData name="Lim, Sharon" userId="9ed40bdc-079d-4cee-a990-4411351f7f9c" providerId="ADAL" clId="{DD93C774-82BE-4DBD-AB5E-BA44CCD0E829}" dt="2023-08-31T09:24:54.500" v="28199"/>
          <ac:cxnSpMkLst>
            <pc:docMk/>
            <pc:sldMk cId="3793799286" sldId="309"/>
            <ac:cxnSpMk id="189" creationId="{01BA8F64-F7B2-2CE3-3519-B456AA33B361}"/>
          </ac:cxnSpMkLst>
        </pc:cxnChg>
        <pc:cxnChg chg="add mod ord replST">
          <ac:chgData name="Lim, Sharon" userId="9ed40bdc-079d-4cee-a990-4411351f7f9c" providerId="ADAL" clId="{DD93C774-82BE-4DBD-AB5E-BA44CCD0E829}" dt="2023-08-31T09:24:54.500" v="28201"/>
          <ac:cxnSpMkLst>
            <pc:docMk/>
            <pc:sldMk cId="3793799286" sldId="309"/>
            <ac:cxnSpMk id="190" creationId="{55A74CDA-9ECD-6055-2CA4-BC8BB40187CC}"/>
          </ac:cxnSpMkLst>
        </pc:cxnChg>
        <pc:cxnChg chg="add del mod ord replST">
          <ac:chgData name="Lim, Sharon" userId="9ed40bdc-079d-4cee-a990-4411351f7f9c" providerId="ADAL" clId="{DD93C774-82BE-4DBD-AB5E-BA44CCD0E829}" dt="2023-08-31T09:07:28.532" v="24905"/>
          <ac:cxnSpMkLst>
            <pc:docMk/>
            <pc:sldMk cId="3793799286" sldId="309"/>
            <ac:cxnSpMk id="191" creationId="{7243612A-1219-88AD-C56C-73B1261C21C5}"/>
          </ac:cxnSpMkLst>
        </pc:cxnChg>
        <pc:cxnChg chg="add mod ord replST">
          <ac:chgData name="Lim, Sharon" userId="9ed40bdc-079d-4cee-a990-4411351f7f9c" providerId="ADAL" clId="{DD93C774-82BE-4DBD-AB5E-BA44CCD0E829}" dt="2023-08-31T09:24:54.501" v="28203"/>
          <ac:cxnSpMkLst>
            <pc:docMk/>
            <pc:sldMk cId="3793799286" sldId="309"/>
            <ac:cxnSpMk id="192" creationId="{6EDCA7C2-484A-A394-C20E-9A1BB10D7FC4}"/>
          </ac:cxnSpMkLst>
        </pc:cxnChg>
        <pc:cxnChg chg="add del mod ord replST">
          <ac:chgData name="Lim, Sharon" userId="9ed40bdc-079d-4cee-a990-4411351f7f9c" providerId="ADAL" clId="{DD93C774-82BE-4DBD-AB5E-BA44CCD0E829}" dt="2023-08-31T09:07:27.436" v="24768"/>
          <ac:cxnSpMkLst>
            <pc:docMk/>
            <pc:sldMk cId="3793799286" sldId="309"/>
            <ac:cxnSpMk id="193" creationId="{DCE90774-A198-5BB0-D1DD-EC2E075997AA}"/>
          </ac:cxnSpMkLst>
        </pc:cxnChg>
        <pc:cxnChg chg="add del mod ord replST">
          <ac:chgData name="Lim, Sharon" userId="9ed40bdc-079d-4cee-a990-4411351f7f9c" providerId="ADAL" clId="{DD93C774-82BE-4DBD-AB5E-BA44CCD0E829}" dt="2023-08-31T09:07:25.600" v="24629"/>
          <ac:cxnSpMkLst>
            <pc:docMk/>
            <pc:sldMk cId="3793799286" sldId="309"/>
            <ac:cxnSpMk id="194" creationId="{76D07D5D-FC24-FB38-1D63-67925BCE49FB}"/>
          </ac:cxnSpMkLst>
        </pc:cxnChg>
        <pc:cxnChg chg="add mod ord replST">
          <ac:chgData name="Lim, Sharon" userId="9ed40bdc-079d-4cee-a990-4411351f7f9c" providerId="ADAL" clId="{DD93C774-82BE-4DBD-AB5E-BA44CCD0E829}" dt="2023-08-31T09:24:54.502" v="28207"/>
          <ac:cxnSpMkLst>
            <pc:docMk/>
            <pc:sldMk cId="3793799286" sldId="309"/>
            <ac:cxnSpMk id="195" creationId="{31C3C65B-D6B9-16F6-ED82-CD057076DD08}"/>
          </ac:cxnSpMkLst>
        </pc:cxnChg>
      </pc:sldChg>
      <pc:sldChg chg="addSp delSp modSp add del mod ord">
        <pc:chgData name="Lim, Sharon" userId="9ed40bdc-079d-4cee-a990-4411351f7f9c" providerId="ADAL" clId="{DD93C774-82BE-4DBD-AB5E-BA44CCD0E829}" dt="2023-08-31T08:46:28.832" v="9260" actId="47"/>
        <pc:sldMkLst>
          <pc:docMk/>
          <pc:sldMk cId="3279259806" sldId="310"/>
        </pc:sldMkLst>
        <pc:spChg chg="del">
          <ac:chgData name="Lim, Sharon" userId="9ed40bdc-079d-4cee-a990-4411351f7f9c" providerId="ADAL" clId="{DD93C774-82BE-4DBD-AB5E-BA44CCD0E829}" dt="2023-08-31T08:44:59.790" v="9252" actId="478"/>
          <ac:spMkLst>
            <pc:docMk/>
            <pc:sldMk cId="3279259806" sldId="310"/>
            <ac:spMk id="5" creationId="{9727673B-8413-CCDC-BA64-7D07EAE62EA3}"/>
          </ac:spMkLst>
        </pc:spChg>
        <pc:spChg chg="del">
          <ac:chgData name="Lim, Sharon" userId="9ed40bdc-079d-4cee-a990-4411351f7f9c" providerId="ADAL" clId="{DD93C774-82BE-4DBD-AB5E-BA44CCD0E829}" dt="2023-08-31T08:44:57.793" v="9251" actId="478"/>
          <ac:spMkLst>
            <pc:docMk/>
            <pc:sldMk cId="3279259806" sldId="310"/>
            <ac:spMk id="6" creationId="{95F89051-279F-98F0-F3A3-E8717CF3EC24}"/>
          </ac:spMkLst>
        </pc:spChg>
        <pc:picChg chg="add del mod">
          <ac:chgData name="Lim, Sharon" userId="9ed40bdc-079d-4cee-a990-4411351f7f9c" providerId="ADAL" clId="{DD93C774-82BE-4DBD-AB5E-BA44CCD0E829}" dt="2023-08-31T08:45:32.778" v="9257" actId="478"/>
          <ac:picMkLst>
            <pc:docMk/>
            <pc:sldMk cId="3279259806" sldId="310"/>
            <ac:picMk id="2" creationId="{B6EFF3A5-4435-BA50-E62F-9FE1F0A36DE3}"/>
          </ac:picMkLst>
        </pc:picChg>
      </pc:sldChg>
      <pc:sldChg chg="addSp delSp modSp new add mod">
        <pc:chgData name="Lim, Sharon" userId="9ed40bdc-079d-4cee-a990-4411351f7f9c" providerId="ADAL" clId="{DD93C774-82BE-4DBD-AB5E-BA44CCD0E829}" dt="2023-08-31T08:49:04.962" v="9347" actId="14100"/>
        <pc:sldMkLst>
          <pc:docMk/>
          <pc:sldMk cId="2075045494" sldId="311"/>
        </pc:sldMkLst>
        <pc:spChg chg="del">
          <ac:chgData name="Lim, Sharon" userId="9ed40bdc-079d-4cee-a990-4411351f7f9c" providerId="ADAL" clId="{DD93C774-82BE-4DBD-AB5E-BA44CCD0E829}" dt="2023-08-31T08:47:13.359" v="9287" actId="478"/>
          <ac:spMkLst>
            <pc:docMk/>
            <pc:sldMk cId="2075045494" sldId="311"/>
            <ac:spMk id="2" creationId="{03E39FB8-0862-3B95-3D10-DD775C11B875}"/>
          </ac:spMkLst>
        </pc:spChg>
        <pc:spChg chg="del">
          <ac:chgData name="Lim, Sharon" userId="9ed40bdc-079d-4cee-a990-4411351f7f9c" providerId="ADAL" clId="{DD93C774-82BE-4DBD-AB5E-BA44CCD0E829}" dt="2023-08-31T08:47:14.359" v="9305" actId="478"/>
          <ac:spMkLst>
            <pc:docMk/>
            <pc:sldMk cId="2075045494" sldId="311"/>
            <ac:spMk id="3" creationId="{070ADA78-D373-4524-94BA-0D8BD0E1494F}"/>
          </ac:spMkLst>
        </pc:spChg>
        <pc:spChg chg="del">
          <ac:chgData name="Lim, Sharon" userId="9ed40bdc-079d-4cee-a990-4411351f7f9c" providerId="ADAL" clId="{DD93C774-82BE-4DBD-AB5E-BA44CCD0E829}" dt="2023-08-31T08:47:15.624" v="9306" actId="478"/>
          <ac:spMkLst>
            <pc:docMk/>
            <pc:sldMk cId="2075045494" sldId="311"/>
            <ac:spMk id="4" creationId="{00231B06-1263-172E-FAB1-B8BDD647B455}"/>
          </ac:spMkLst>
        </pc:spChg>
        <pc:spChg chg="add mod">
          <ac:chgData name="Lim, Sharon" userId="9ed40bdc-079d-4cee-a990-4411351f7f9c" providerId="ADAL" clId="{DD93C774-82BE-4DBD-AB5E-BA44CCD0E829}" dt="2023-08-31T08:49:04.962" v="9347" actId="14100"/>
          <ac:spMkLst>
            <pc:docMk/>
            <pc:sldMk cId="2075045494" sldId="311"/>
            <ac:spMk id="6" creationId="{4B57D8F3-220C-771F-0C3D-FA903D1E5FB1}"/>
          </ac:spMkLst>
        </pc:spChg>
        <pc:graphicFrameChg chg="add mod ord modVis replST">
          <ac:chgData name="Lim, Sharon" userId="9ed40bdc-079d-4cee-a990-4411351f7f9c" providerId="ADAL" clId="{DD93C774-82BE-4DBD-AB5E-BA44CCD0E829}" dt="2023-08-31T08:47:13.954" v="9304"/>
          <ac:graphicFrameMkLst>
            <pc:docMk/>
            <pc:sldMk cId="2075045494" sldId="311"/>
            <ac:graphicFrameMk id="5" creationId="{25911382-3FB8-73E1-9B53-7B58EEE2ECA0}"/>
          </ac:graphicFrameMkLst>
        </pc:graphicFrameChg>
      </pc:sldChg>
      <pc:sldChg chg="addSp delSp modSp add mod modNotesTx">
        <pc:chgData name="Lim, Sharon" userId="9ed40bdc-079d-4cee-a990-4411351f7f9c" providerId="ADAL" clId="{DD93C774-82BE-4DBD-AB5E-BA44CCD0E829}" dt="2023-09-01T04:26:09.733" v="67518"/>
        <pc:sldMkLst>
          <pc:docMk/>
          <pc:sldMk cId="1876687592" sldId="312"/>
        </pc:sldMkLst>
        <pc:spChg chg="add mod ord">
          <ac:chgData name="Lim, Sharon" userId="9ed40bdc-079d-4cee-a990-4411351f7f9c" providerId="ADAL" clId="{DD93C774-82BE-4DBD-AB5E-BA44CCD0E829}" dt="2023-09-01T03:25:51.700" v="66641"/>
          <ac:spMkLst>
            <pc:docMk/>
            <pc:sldMk cId="1876687592" sldId="312"/>
            <ac:spMk id="2" creationId="{9F9FFE4E-88D2-7BEE-BA46-490D539EC4BF}"/>
          </ac:spMkLst>
        </pc:spChg>
        <pc:spChg chg="add mod ord">
          <ac:chgData name="Lim, Sharon" userId="9ed40bdc-079d-4cee-a990-4411351f7f9c" providerId="ADAL" clId="{DD93C774-82BE-4DBD-AB5E-BA44CCD0E829}" dt="2023-09-01T03:25:51.703" v="66643"/>
          <ac:spMkLst>
            <pc:docMk/>
            <pc:sldMk cId="1876687592" sldId="312"/>
            <ac:spMk id="3" creationId="{D9C48D54-197D-910F-9A56-7FA2F90C85F6}"/>
          </ac:spMkLst>
        </pc:spChg>
        <pc:spChg chg="mod ord">
          <ac:chgData name="Lim, Sharon" userId="9ed40bdc-079d-4cee-a990-4411351f7f9c" providerId="ADAL" clId="{DD93C774-82BE-4DBD-AB5E-BA44CCD0E829}" dt="2023-09-01T03:25:51.697" v="66639"/>
          <ac:spMkLst>
            <pc:docMk/>
            <pc:sldMk cId="1876687592" sldId="312"/>
            <ac:spMk id="5" creationId="{9727673B-8413-CCDC-BA64-7D07EAE62EA3}"/>
          </ac:spMkLst>
        </pc:spChg>
        <pc:spChg chg="del mod ord">
          <ac:chgData name="Lim, Sharon" userId="9ed40bdc-079d-4cee-a990-4411351f7f9c" providerId="ADAL" clId="{DD93C774-82BE-4DBD-AB5E-BA44CCD0E829}" dt="2023-09-01T02:11:00.779" v="65938" actId="478"/>
          <ac:spMkLst>
            <pc:docMk/>
            <pc:sldMk cId="1876687592" sldId="312"/>
            <ac:spMk id="6" creationId="{95F89051-279F-98F0-F3A3-E8717CF3EC24}"/>
          </ac:spMkLst>
        </pc:spChg>
        <pc:spChg chg="add mod ord">
          <ac:chgData name="Lim, Sharon" userId="9ed40bdc-079d-4cee-a990-4411351f7f9c" providerId="ADAL" clId="{DD93C774-82BE-4DBD-AB5E-BA44CCD0E829}" dt="2023-09-01T04:07:46.234" v="67502" actId="20577"/>
          <ac:spMkLst>
            <pc:docMk/>
            <pc:sldMk cId="1876687592" sldId="312"/>
            <ac:spMk id="7" creationId="{6ED8FD5A-7485-7BA2-4AAE-BA55DE6E721F}"/>
          </ac:spMkLst>
        </pc:spChg>
        <pc:spChg chg="add mod ord">
          <ac:chgData name="Lim, Sharon" userId="9ed40bdc-079d-4cee-a990-4411351f7f9c" providerId="ADAL" clId="{DD93C774-82BE-4DBD-AB5E-BA44CCD0E829}" dt="2023-09-01T03:25:51.707" v="66647"/>
          <ac:spMkLst>
            <pc:docMk/>
            <pc:sldMk cId="1876687592" sldId="312"/>
            <ac:spMk id="8" creationId="{9F7B95B8-AC36-6F99-57AD-248FF243E3A7}"/>
          </ac:spMkLst>
        </pc:spChg>
        <pc:spChg chg="add del mod replST">
          <ac:chgData name="Lim, Sharon" userId="9ed40bdc-079d-4cee-a990-4411351f7f9c" providerId="ADAL" clId="{DD93C774-82BE-4DBD-AB5E-BA44CCD0E829}" dt="2023-08-31T09:35:58.202" v="29326"/>
          <ac:spMkLst>
            <pc:docMk/>
            <pc:sldMk cId="1876687592" sldId="312"/>
            <ac:spMk id="19" creationId="{0EB7ED2F-DF9D-4E6E-207B-FC9D1485891B}"/>
          </ac:spMkLst>
        </pc:spChg>
        <pc:spChg chg="add del mod replST">
          <ac:chgData name="Lim, Sharon" userId="9ed40bdc-079d-4cee-a990-4411351f7f9c" providerId="ADAL" clId="{DD93C774-82BE-4DBD-AB5E-BA44CCD0E829}" dt="2023-08-31T09:35:58.200" v="29323"/>
          <ac:spMkLst>
            <pc:docMk/>
            <pc:sldMk cId="1876687592" sldId="312"/>
            <ac:spMk id="20" creationId="{BBD1814F-F71E-43FF-CDA3-7EC3694D978F}"/>
          </ac:spMkLst>
        </pc:spChg>
        <pc:spChg chg="add del mod replST">
          <ac:chgData name="Lim, Sharon" userId="9ed40bdc-079d-4cee-a990-4411351f7f9c" providerId="ADAL" clId="{DD93C774-82BE-4DBD-AB5E-BA44CCD0E829}" dt="2023-08-31T09:35:58.197" v="29320"/>
          <ac:spMkLst>
            <pc:docMk/>
            <pc:sldMk cId="1876687592" sldId="312"/>
            <ac:spMk id="21" creationId="{F1403FC5-6CF2-1756-D296-94A5FE9481A0}"/>
          </ac:spMkLst>
        </pc:spChg>
        <pc:spChg chg="add del mod replST">
          <ac:chgData name="Lim, Sharon" userId="9ed40bdc-079d-4cee-a990-4411351f7f9c" providerId="ADAL" clId="{DD93C774-82BE-4DBD-AB5E-BA44CCD0E829}" dt="2023-08-31T09:35:58.195" v="29317"/>
          <ac:spMkLst>
            <pc:docMk/>
            <pc:sldMk cId="1876687592" sldId="312"/>
            <ac:spMk id="22" creationId="{A5C10EA0-A2CE-67EA-E8F4-96DAB6570FF4}"/>
          </ac:spMkLst>
        </pc:spChg>
        <pc:spChg chg="add del mod replST">
          <ac:chgData name="Lim, Sharon" userId="9ed40bdc-079d-4cee-a990-4411351f7f9c" providerId="ADAL" clId="{DD93C774-82BE-4DBD-AB5E-BA44CCD0E829}" dt="2023-08-31T09:35:58.193" v="29314"/>
          <ac:spMkLst>
            <pc:docMk/>
            <pc:sldMk cId="1876687592" sldId="312"/>
            <ac:spMk id="23" creationId="{5CEF33C0-40BA-8421-464A-0B8F0446D40D}"/>
          </ac:spMkLst>
        </pc:spChg>
        <pc:spChg chg="add del mod replST">
          <ac:chgData name="Lim, Sharon" userId="9ed40bdc-079d-4cee-a990-4411351f7f9c" providerId="ADAL" clId="{DD93C774-82BE-4DBD-AB5E-BA44CCD0E829}" dt="2023-08-31T09:35:58.190" v="29311"/>
          <ac:spMkLst>
            <pc:docMk/>
            <pc:sldMk cId="1876687592" sldId="312"/>
            <ac:spMk id="24" creationId="{AA419869-B1BE-F251-43F5-1405EED0E867}"/>
          </ac:spMkLst>
        </pc:spChg>
        <pc:spChg chg="add del mod replST">
          <ac:chgData name="Lim, Sharon" userId="9ed40bdc-079d-4cee-a990-4411351f7f9c" providerId="ADAL" clId="{DD93C774-82BE-4DBD-AB5E-BA44CCD0E829}" dt="2023-08-31T09:35:58.187" v="29308"/>
          <ac:spMkLst>
            <pc:docMk/>
            <pc:sldMk cId="1876687592" sldId="312"/>
            <ac:spMk id="25" creationId="{E7D0A81F-DAD0-8585-3123-42EDC43E4FDC}"/>
          </ac:spMkLst>
        </pc:spChg>
        <pc:spChg chg="add del mod replST">
          <ac:chgData name="Lim, Sharon" userId="9ed40bdc-079d-4cee-a990-4411351f7f9c" providerId="ADAL" clId="{DD93C774-82BE-4DBD-AB5E-BA44CCD0E829}" dt="2023-08-31T09:35:58.181" v="29305"/>
          <ac:spMkLst>
            <pc:docMk/>
            <pc:sldMk cId="1876687592" sldId="312"/>
            <ac:spMk id="26" creationId="{36A84942-02AA-7313-7C1A-8CFB65241BE3}"/>
          </ac:spMkLst>
        </pc:spChg>
        <pc:spChg chg="add del mod replST">
          <ac:chgData name="Lim, Sharon" userId="9ed40bdc-079d-4cee-a990-4411351f7f9c" providerId="ADAL" clId="{DD93C774-82BE-4DBD-AB5E-BA44CCD0E829}" dt="2023-08-31T09:35:58.178" v="29302"/>
          <ac:spMkLst>
            <pc:docMk/>
            <pc:sldMk cId="1876687592" sldId="312"/>
            <ac:spMk id="27" creationId="{5D7E58E8-7BBD-911A-610C-842CA8465A1B}"/>
          </ac:spMkLst>
        </pc:spChg>
        <pc:spChg chg="add del mod replST">
          <ac:chgData name="Lim, Sharon" userId="9ed40bdc-079d-4cee-a990-4411351f7f9c" providerId="ADAL" clId="{DD93C774-82BE-4DBD-AB5E-BA44CCD0E829}" dt="2023-08-31T09:35:58.178" v="29301"/>
          <ac:spMkLst>
            <pc:docMk/>
            <pc:sldMk cId="1876687592" sldId="312"/>
            <ac:spMk id="28" creationId="{ED5EA364-6DF8-151C-1754-099F97BFEECB}"/>
          </ac:spMkLst>
        </pc:spChg>
        <pc:spChg chg="add del mod replST">
          <ac:chgData name="Lim, Sharon" userId="9ed40bdc-079d-4cee-a990-4411351f7f9c" providerId="ADAL" clId="{DD93C774-82BE-4DBD-AB5E-BA44CCD0E829}" dt="2023-08-31T09:35:58.177" v="29300"/>
          <ac:spMkLst>
            <pc:docMk/>
            <pc:sldMk cId="1876687592" sldId="312"/>
            <ac:spMk id="29" creationId="{50663415-D81E-47C6-5260-927533D4F536}"/>
          </ac:spMkLst>
        </pc:spChg>
        <pc:spChg chg="add del mod replST">
          <ac:chgData name="Lim, Sharon" userId="9ed40bdc-079d-4cee-a990-4411351f7f9c" providerId="ADAL" clId="{DD93C774-82BE-4DBD-AB5E-BA44CCD0E829}" dt="2023-08-31T09:35:58.174" v="29297"/>
          <ac:spMkLst>
            <pc:docMk/>
            <pc:sldMk cId="1876687592" sldId="312"/>
            <ac:spMk id="30" creationId="{8603560A-2AFD-79C8-704F-665D4845688E}"/>
          </ac:spMkLst>
        </pc:spChg>
        <pc:spChg chg="add del mod replST">
          <ac:chgData name="Lim, Sharon" userId="9ed40bdc-079d-4cee-a990-4411351f7f9c" providerId="ADAL" clId="{DD93C774-82BE-4DBD-AB5E-BA44CCD0E829}" dt="2023-08-31T09:35:58.174" v="29296"/>
          <ac:spMkLst>
            <pc:docMk/>
            <pc:sldMk cId="1876687592" sldId="312"/>
            <ac:spMk id="31" creationId="{339F9662-CACA-ECC0-18E4-492595BC4256}"/>
          </ac:spMkLst>
        </pc:spChg>
        <pc:spChg chg="add del mod replST">
          <ac:chgData name="Lim, Sharon" userId="9ed40bdc-079d-4cee-a990-4411351f7f9c" providerId="ADAL" clId="{DD93C774-82BE-4DBD-AB5E-BA44CCD0E829}" dt="2023-08-31T09:35:58.173" v="29295"/>
          <ac:spMkLst>
            <pc:docMk/>
            <pc:sldMk cId="1876687592" sldId="312"/>
            <ac:spMk id="32" creationId="{E7B8D083-6F47-50E7-E14B-198DCA37557F}"/>
          </ac:spMkLst>
        </pc:spChg>
        <pc:spChg chg="add del mod replST">
          <ac:chgData name="Lim, Sharon" userId="9ed40bdc-079d-4cee-a990-4411351f7f9c" providerId="ADAL" clId="{DD93C774-82BE-4DBD-AB5E-BA44CCD0E829}" dt="2023-08-31T09:35:58.173" v="29294"/>
          <ac:spMkLst>
            <pc:docMk/>
            <pc:sldMk cId="1876687592" sldId="312"/>
            <ac:spMk id="33" creationId="{F809CDF0-23B9-4BC4-B9E0-E0C66AF012A6}"/>
          </ac:spMkLst>
        </pc:spChg>
        <pc:spChg chg="add del mod replST">
          <ac:chgData name="Lim, Sharon" userId="9ed40bdc-079d-4cee-a990-4411351f7f9c" providerId="ADAL" clId="{DD93C774-82BE-4DBD-AB5E-BA44CCD0E829}" dt="2023-08-31T09:35:58.171" v="29293"/>
          <ac:spMkLst>
            <pc:docMk/>
            <pc:sldMk cId="1876687592" sldId="312"/>
            <ac:spMk id="34" creationId="{FB3F3336-614A-978D-702E-6A0D553D8DCF}"/>
          </ac:spMkLst>
        </pc:spChg>
        <pc:spChg chg="add del mod replST">
          <ac:chgData name="Lim, Sharon" userId="9ed40bdc-079d-4cee-a990-4411351f7f9c" providerId="ADAL" clId="{DD93C774-82BE-4DBD-AB5E-BA44CCD0E829}" dt="2023-08-31T09:35:58.171" v="29292"/>
          <ac:spMkLst>
            <pc:docMk/>
            <pc:sldMk cId="1876687592" sldId="312"/>
            <ac:spMk id="35" creationId="{D353337E-D0F5-987C-36A1-AE4740D49E1A}"/>
          </ac:spMkLst>
        </pc:spChg>
        <pc:spChg chg="add del mod replST">
          <ac:chgData name="Lim, Sharon" userId="9ed40bdc-079d-4cee-a990-4411351f7f9c" providerId="ADAL" clId="{DD93C774-82BE-4DBD-AB5E-BA44CCD0E829}" dt="2023-08-31T09:35:58.168" v="29289"/>
          <ac:spMkLst>
            <pc:docMk/>
            <pc:sldMk cId="1876687592" sldId="312"/>
            <ac:spMk id="36" creationId="{DCCAE9A7-5928-FDE2-21C5-1F14D8B33315}"/>
          </ac:spMkLst>
        </pc:spChg>
        <pc:spChg chg="add del mod ord replST">
          <ac:chgData name="Lim, Sharon" userId="9ed40bdc-079d-4cee-a990-4411351f7f9c" providerId="ADAL" clId="{DD93C774-82BE-4DBD-AB5E-BA44CCD0E829}" dt="2023-08-31T09:35:58.176" v="29299"/>
          <ac:spMkLst>
            <pc:docMk/>
            <pc:sldMk cId="1876687592" sldId="312"/>
            <ac:spMk id="37" creationId="{FAD0411B-9A61-3088-27AA-E7796090C059}"/>
          </ac:spMkLst>
        </pc:spChg>
        <pc:spChg chg="add del mod ord replST">
          <ac:chgData name="Lim, Sharon" userId="9ed40bdc-079d-4cee-a990-4411351f7f9c" providerId="ADAL" clId="{DD93C774-82BE-4DBD-AB5E-BA44CCD0E829}" dt="2023-08-31T09:35:58.170" v="29291"/>
          <ac:spMkLst>
            <pc:docMk/>
            <pc:sldMk cId="1876687592" sldId="312"/>
            <ac:spMk id="38" creationId="{3E410200-16CA-2678-52A4-A6C473142E33}"/>
          </ac:spMkLst>
        </pc:spChg>
        <pc:spChg chg="add del mod modVis">
          <ac:chgData name="Lim, Sharon" userId="9ed40bdc-079d-4cee-a990-4411351f7f9c" providerId="ADAL" clId="{DD93C774-82BE-4DBD-AB5E-BA44CCD0E829}" dt="2023-08-31T09:31:35.929" v="29286"/>
          <ac:spMkLst>
            <pc:docMk/>
            <pc:sldMk cId="1876687592" sldId="312"/>
            <ac:spMk id="39" creationId="{BB42EE7F-4505-D3AB-FBE1-F1632156BBDF}"/>
          </ac:spMkLst>
        </pc:spChg>
        <pc:spChg chg="add del mod modVis">
          <ac:chgData name="Lim, Sharon" userId="9ed40bdc-079d-4cee-a990-4411351f7f9c" providerId="ADAL" clId="{DD93C774-82BE-4DBD-AB5E-BA44CCD0E829}" dt="2023-08-31T09:36:05.844" v="29550"/>
          <ac:spMkLst>
            <pc:docMk/>
            <pc:sldMk cId="1876687592" sldId="312"/>
            <ac:spMk id="41" creationId="{13F30E63-3406-CA76-7104-B8BB56367997}"/>
          </ac:spMkLst>
        </pc:spChg>
        <pc:spChg chg="add mod replST">
          <ac:chgData name="Lim, Sharon" userId="9ed40bdc-079d-4cee-a990-4411351f7f9c" providerId="ADAL" clId="{DD93C774-82BE-4DBD-AB5E-BA44CCD0E829}" dt="2023-09-01T03:25:55.617" v="66725"/>
          <ac:spMkLst>
            <pc:docMk/>
            <pc:sldMk cId="1876687592" sldId="312"/>
            <ac:spMk id="42" creationId="{157E2803-2BF7-ABD7-C482-D7A3AD0399C5}"/>
          </ac:spMkLst>
        </pc:spChg>
        <pc:spChg chg="add mod replST">
          <ac:chgData name="Lim, Sharon" userId="9ed40bdc-079d-4cee-a990-4411351f7f9c" providerId="ADAL" clId="{DD93C774-82BE-4DBD-AB5E-BA44CCD0E829}" dt="2023-09-01T03:25:55.682" v="66751"/>
          <ac:spMkLst>
            <pc:docMk/>
            <pc:sldMk cId="1876687592" sldId="312"/>
            <ac:spMk id="43" creationId="{157E2803-2BF7-ABD7-C482-D7A3AD0399C5}"/>
          </ac:spMkLst>
        </pc:spChg>
        <pc:spChg chg="add del mod modVis">
          <ac:chgData name="Lim, Sharon" userId="9ed40bdc-079d-4cee-a990-4411351f7f9c" providerId="ADAL" clId="{DD93C774-82BE-4DBD-AB5E-BA44CCD0E829}" dt="2023-08-31T09:36:11.402" v="29626"/>
          <ac:spMkLst>
            <pc:docMk/>
            <pc:sldMk cId="1876687592" sldId="312"/>
            <ac:spMk id="45" creationId="{ABAF17B3-308B-F48B-4B32-B403CA46B9BD}"/>
          </ac:spMkLst>
        </pc:spChg>
        <pc:spChg chg="add del mod modVis">
          <ac:chgData name="Lim, Sharon" userId="9ed40bdc-079d-4cee-a990-4411351f7f9c" providerId="ADAL" clId="{DD93C774-82BE-4DBD-AB5E-BA44CCD0E829}" dt="2023-08-31T09:36:14.815" v="29702"/>
          <ac:spMkLst>
            <pc:docMk/>
            <pc:sldMk cId="1876687592" sldId="312"/>
            <ac:spMk id="47" creationId="{2ED1598A-CE2F-CC01-299C-307D2E86B3C2}"/>
          </ac:spMkLst>
        </pc:spChg>
        <pc:spChg chg="add del mod modVis">
          <ac:chgData name="Lim, Sharon" userId="9ed40bdc-079d-4cee-a990-4411351f7f9c" providerId="ADAL" clId="{DD93C774-82BE-4DBD-AB5E-BA44CCD0E829}" dt="2023-08-31T09:36:15.611" v="29778"/>
          <ac:spMkLst>
            <pc:docMk/>
            <pc:sldMk cId="1876687592" sldId="312"/>
            <ac:spMk id="49" creationId="{C9CFF54E-EDEE-79B0-7F90-113F13CEC5FE}"/>
          </ac:spMkLst>
        </pc:spChg>
        <pc:spChg chg="add del mod modVis">
          <ac:chgData name="Lim, Sharon" userId="9ed40bdc-079d-4cee-a990-4411351f7f9c" providerId="ADAL" clId="{DD93C774-82BE-4DBD-AB5E-BA44CCD0E829}" dt="2023-08-31T09:36:24.970" v="29896"/>
          <ac:spMkLst>
            <pc:docMk/>
            <pc:sldMk cId="1876687592" sldId="312"/>
            <ac:spMk id="51" creationId="{35AF917D-A491-CBA2-1B64-5B08D57BD2AF}"/>
          </ac:spMkLst>
        </pc:spChg>
        <pc:spChg chg="add mod replST">
          <ac:chgData name="Lim, Sharon" userId="9ed40bdc-079d-4cee-a990-4411351f7f9c" providerId="ADAL" clId="{DD93C774-82BE-4DBD-AB5E-BA44CCD0E829}" dt="2023-09-01T03:25:55.732" v="66777"/>
          <ac:spMkLst>
            <pc:docMk/>
            <pc:sldMk cId="1876687592" sldId="312"/>
            <ac:spMk id="53" creationId="{DC00A50B-6B52-C5C7-2A31-D4AC197243DD}"/>
          </ac:spMkLst>
        </pc:spChg>
        <pc:spChg chg="add del mod replST">
          <ac:chgData name="Lim, Sharon" userId="9ed40bdc-079d-4cee-a990-4411351f7f9c" providerId="ADAL" clId="{DD93C774-82BE-4DBD-AB5E-BA44CCD0E829}" dt="2023-08-31T09:39:34.548" v="32210"/>
          <ac:spMkLst>
            <pc:docMk/>
            <pc:sldMk cId="1876687592" sldId="312"/>
            <ac:spMk id="54" creationId="{C2A55BC2-DD64-6E30-9839-D139D519C087}"/>
          </ac:spMkLst>
        </pc:spChg>
        <pc:spChg chg="add mod replST">
          <ac:chgData name="Lim, Sharon" userId="9ed40bdc-079d-4cee-a990-4411351f7f9c" providerId="ADAL" clId="{DD93C774-82BE-4DBD-AB5E-BA44CCD0E829}" dt="2023-09-01T03:25:55.797" v="66803"/>
          <ac:spMkLst>
            <pc:docMk/>
            <pc:sldMk cId="1876687592" sldId="312"/>
            <ac:spMk id="55" creationId="{75A646E6-F6A8-77EF-A3C0-62623A1E9EF0}"/>
          </ac:spMkLst>
        </pc:spChg>
        <pc:spChg chg="add del mod modVis">
          <ac:chgData name="Lim, Sharon" userId="9ed40bdc-079d-4cee-a990-4411351f7f9c" providerId="ADAL" clId="{DD93C774-82BE-4DBD-AB5E-BA44CCD0E829}" dt="2023-08-31T09:36:30.645" v="30107"/>
          <ac:spMkLst>
            <pc:docMk/>
            <pc:sldMk cId="1876687592" sldId="312"/>
            <ac:spMk id="56" creationId="{A0B8D8AF-B261-C4C6-2FC8-B92A81496B86}"/>
          </ac:spMkLst>
        </pc:spChg>
        <pc:spChg chg="add del mod modVis">
          <ac:chgData name="Lim, Sharon" userId="9ed40bdc-079d-4cee-a990-4411351f7f9c" providerId="ADAL" clId="{DD93C774-82BE-4DBD-AB5E-BA44CCD0E829}" dt="2023-08-31T09:36:52.076" v="30370"/>
          <ac:spMkLst>
            <pc:docMk/>
            <pc:sldMk cId="1876687592" sldId="312"/>
            <ac:spMk id="60" creationId="{C8C2D503-B5BE-A23A-10A9-69A97EE6F39A}"/>
          </ac:spMkLst>
        </pc:spChg>
        <pc:spChg chg="add del mod modVis">
          <ac:chgData name="Lim, Sharon" userId="9ed40bdc-079d-4cee-a990-4411351f7f9c" providerId="ADAL" clId="{DD93C774-82BE-4DBD-AB5E-BA44CCD0E829}" dt="2023-08-31T09:37:15.301" v="31252"/>
          <ac:spMkLst>
            <pc:docMk/>
            <pc:sldMk cId="1876687592" sldId="312"/>
            <ac:spMk id="67" creationId="{92EBBEF6-0828-DB44-B862-FE9615A522AC}"/>
          </ac:spMkLst>
        </pc:spChg>
        <pc:spChg chg="add del mod modVis">
          <ac:chgData name="Lim, Sharon" userId="9ed40bdc-079d-4cee-a990-4411351f7f9c" providerId="ADAL" clId="{DD93C774-82BE-4DBD-AB5E-BA44CCD0E829}" dt="2023-08-31T09:37:20.637" v="31338"/>
          <ac:spMkLst>
            <pc:docMk/>
            <pc:sldMk cId="1876687592" sldId="312"/>
            <ac:spMk id="69" creationId="{0F66C167-C629-6B2F-68A7-B719485B2813}"/>
          </ac:spMkLst>
        </pc:spChg>
        <pc:spChg chg="add del mod modVis">
          <ac:chgData name="Lim, Sharon" userId="9ed40bdc-079d-4cee-a990-4411351f7f9c" providerId="ADAL" clId="{DD93C774-82BE-4DBD-AB5E-BA44CCD0E829}" dt="2023-08-31T09:37:23.955" v="31424"/>
          <ac:spMkLst>
            <pc:docMk/>
            <pc:sldMk cId="1876687592" sldId="312"/>
            <ac:spMk id="71" creationId="{6311A61F-8E3B-6652-5A3E-3FA02314A026}"/>
          </ac:spMkLst>
        </pc:spChg>
        <pc:spChg chg="add del mod modVis">
          <ac:chgData name="Lim, Sharon" userId="9ed40bdc-079d-4cee-a990-4411351f7f9c" providerId="ADAL" clId="{DD93C774-82BE-4DBD-AB5E-BA44CCD0E829}" dt="2023-08-31T09:38:19.382" v="31580"/>
          <ac:spMkLst>
            <pc:docMk/>
            <pc:sldMk cId="1876687592" sldId="312"/>
            <ac:spMk id="73" creationId="{6147BD9F-5B3D-583C-9B38-6105B72CD4CB}"/>
          </ac:spMkLst>
        </pc:spChg>
        <pc:spChg chg="add del mod modVis">
          <ac:chgData name="Lim, Sharon" userId="9ed40bdc-079d-4cee-a990-4411351f7f9c" providerId="ADAL" clId="{DD93C774-82BE-4DBD-AB5E-BA44CCD0E829}" dt="2023-08-31T09:38:37.201" v="31737"/>
          <ac:spMkLst>
            <pc:docMk/>
            <pc:sldMk cId="1876687592" sldId="312"/>
            <ac:spMk id="75" creationId="{E055FE88-7502-A3BA-45A2-AE0DB3F637D1}"/>
          </ac:spMkLst>
        </pc:spChg>
        <pc:spChg chg="add del mod modVis">
          <ac:chgData name="Lim, Sharon" userId="9ed40bdc-079d-4cee-a990-4411351f7f9c" providerId="ADAL" clId="{DD93C774-82BE-4DBD-AB5E-BA44CCD0E829}" dt="2023-08-31T09:38:44.210" v="31893"/>
          <ac:spMkLst>
            <pc:docMk/>
            <pc:sldMk cId="1876687592" sldId="312"/>
            <ac:spMk id="77" creationId="{86FC7494-518D-0111-04D7-98551BADE402}"/>
          </ac:spMkLst>
        </pc:spChg>
        <pc:spChg chg="add del mod modVis">
          <ac:chgData name="Lim, Sharon" userId="9ed40bdc-079d-4cee-a990-4411351f7f9c" providerId="ADAL" clId="{DD93C774-82BE-4DBD-AB5E-BA44CCD0E829}" dt="2023-08-31T09:38:53.613" v="32049"/>
          <ac:spMkLst>
            <pc:docMk/>
            <pc:sldMk cId="1876687592" sldId="312"/>
            <ac:spMk id="79" creationId="{157845C3-2DC5-9344-2592-9C7BC97D9257}"/>
          </ac:spMkLst>
        </pc:spChg>
        <pc:spChg chg="add del mod modVis">
          <ac:chgData name="Lim, Sharon" userId="9ed40bdc-079d-4cee-a990-4411351f7f9c" providerId="ADAL" clId="{DD93C774-82BE-4DBD-AB5E-BA44CCD0E829}" dt="2023-08-31T09:39:03.134" v="32205"/>
          <ac:spMkLst>
            <pc:docMk/>
            <pc:sldMk cId="1876687592" sldId="312"/>
            <ac:spMk id="81" creationId="{AD8EA4A9-29CB-1901-0109-2B4B5184B9AC}"/>
          </ac:spMkLst>
        </pc:spChg>
        <pc:spChg chg="add del mod modVis">
          <ac:chgData name="Lim, Sharon" userId="9ed40bdc-079d-4cee-a990-4411351f7f9c" providerId="ADAL" clId="{DD93C774-82BE-4DBD-AB5E-BA44CCD0E829}" dt="2023-08-31T09:39:34.739" v="32364"/>
          <ac:spMkLst>
            <pc:docMk/>
            <pc:sldMk cId="1876687592" sldId="312"/>
            <ac:spMk id="83" creationId="{E7243AA6-7335-8E30-ED38-AB04B9F61776}"/>
          </ac:spMkLst>
        </pc:spChg>
        <pc:spChg chg="add del mod modVis">
          <ac:chgData name="Lim, Sharon" userId="9ed40bdc-079d-4cee-a990-4411351f7f9c" providerId="ADAL" clId="{DD93C774-82BE-4DBD-AB5E-BA44CCD0E829}" dt="2023-08-31T09:39:40.796" v="32502"/>
          <ac:spMkLst>
            <pc:docMk/>
            <pc:sldMk cId="1876687592" sldId="312"/>
            <ac:spMk id="85" creationId="{E7A31321-1910-671E-5BA9-994152C20C2E}"/>
          </ac:spMkLst>
        </pc:spChg>
        <pc:spChg chg="add del mod modVis">
          <ac:chgData name="Lim, Sharon" userId="9ed40bdc-079d-4cee-a990-4411351f7f9c" providerId="ADAL" clId="{DD93C774-82BE-4DBD-AB5E-BA44CCD0E829}" dt="2023-08-31T09:39:58.990" v="32640"/>
          <ac:spMkLst>
            <pc:docMk/>
            <pc:sldMk cId="1876687592" sldId="312"/>
            <ac:spMk id="87" creationId="{FC30B3D6-9338-E451-89D4-FC8EF6320127}"/>
          </ac:spMkLst>
        </pc:spChg>
        <pc:spChg chg="add del mod modVis">
          <ac:chgData name="Lim, Sharon" userId="9ed40bdc-079d-4cee-a990-4411351f7f9c" providerId="ADAL" clId="{DD93C774-82BE-4DBD-AB5E-BA44CCD0E829}" dt="2023-08-31T09:40:10.580" v="32778"/>
          <ac:spMkLst>
            <pc:docMk/>
            <pc:sldMk cId="1876687592" sldId="312"/>
            <ac:spMk id="89" creationId="{A38BC8F2-5F3B-3BE8-D156-776BA414EB84}"/>
          </ac:spMkLst>
        </pc:spChg>
        <pc:spChg chg="add del mod modVis">
          <ac:chgData name="Lim, Sharon" userId="9ed40bdc-079d-4cee-a990-4411351f7f9c" providerId="ADAL" clId="{DD93C774-82BE-4DBD-AB5E-BA44CCD0E829}" dt="2023-08-31T09:40:22.348" v="32916"/>
          <ac:spMkLst>
            <pc:docMk/>
            <pc:sldMk cId="1876687592" sldId="312"/>
            <ac:spMk id="91" creationId="{7F90F354-609D-28F3-C864-59F9F2CD970F}"/>
          </ac:spMkLst>
        </pc:spChg>
        <pc:spChg chg="add del mod modVis">
          <ac:chgData name="Lim, Sharon" userId="9ed40bdc-079d-4cee-a990-4411351f7f9c" providerId="ADAL" clId="{DD93C774-82BE-4DBD-AB5E-BA44CCD0E829}" dt="2023-08-31T09:40:29.353" v="33054"/>
          <ac:spMkLst>
            <pc:docMk/>
            <pc:sldMk cId="1876687592" sldId="312"/>
            <ac:spMk id="93" creationId="{7D4AF2D8-8C6E-6EE7-5CD9-5CA03BB41711}"/>
          </ac:spMkLst>
        </pc:spChg>
        <pc:spChg chg="add del mod modVis">
          <ac:chgData name="Lim, Sharon" userId="9ed40bdc-079d-4cee-a990-4411351f7f9c" providerId="ADAL" clId="{DD93C774-82BE-4DBD-AB5E-BA44CCD0E829}" dt="2023-08-31T09:40:48.057" v="33348"/>
          <ac:spMkLst>
            <pc:docMk/>
            <pc:sldMk cId="1876687592" sldId="312"/>
            <ac:spMk id="95" creationId="{2242D98C-F1F4-B330-7FB7-1E9A436330CD}"/>
          </ac:spMkLst>
        </pc:spChg>
        <pc:spChg chg="add mod ord">
          <ac:chgData name="Lim, Sharon" userId="9ed40bdc-079d-4cee-a990-4411351f7f9c" providerId="ADAL" clId="{DD93C774-82BE-4DBD-AB5E-BA44CCD0E829}" dt="2023-09-01T03:25:51.726" v="66667"/>
          <ac:spMkLst>
            <pc:docMk/>
            <pc:sldMk cId="1876687592" sldId="312"/>
            <ac:spMk id="97" creationId="{E114BF3B-D9C8-51AD-9E78-B3BFB20D4E97}"/>
          </ac:spMkLst>
        </pc:spChg>
        <pc:spChg chg="add del mod modVis">
          <ac:chgData name="Lim, Sharon" userId="9ed40bdc-079d-4cee-a990-4411351f7f9c" providerId="ADAL" clId="{DD93C774-82BE-4DBD-AB5E-BA44CCD0E829}" dt="2023-08-31T09:41:12.648" v="33980"/>
          <ac:spMkLst>
            <pc:docMk/>
            <pc:sldMk cId="1876687592" sldId="312"/>
            <ac:spMk id="98" creationId="{D444B123-2D2E-BA13-99B3-06C6A6F3C19B}"/>
          </ac:spMkLst>
        </pc:spChg>
        <pc:spChg chg="add del mod replST">
          <ac:chgData name="Lim, Sharon" userId="9ed40bdc-079d-4cee-a990-4411351f7f9c" providerId="ADAL" clId="{DD93C774-82BE-4DBD-AB5E-BA44CCD0E829}" dt="2023-08-31T09:41:44.057" v="34035"/>
          <ac:spMkLst>
            <pc:docMk/>
            <pc:sldMk cId="1876687592" sldId="312"/>
            <ac:spMk id="99" creationId="{157E2803-2BF7-ABD7-C482-D7A3AD0399C5}"/>
          </ac:spMkLst>
        </pc:spChg>
        <pc:spChg chg="add del mod replST">
          <ac:chgData name="Lim, Sharon" userId="9ed40bdc-079d-4cee-a990-4411351f7f9c" providerId="ADAL" clId="{DD93C774-82BE-4DBD-AB5E-BA44CCD0E829}" dt="2023-08-31T09:41:44.057" v="34036"/>
          <ac:spMkLst>
            <pc:docMk/>
            <pc:sldMk cId="1876687592" sldId="312"/>
            <ac:spMk id="100" creationId="{157E2803-2BF7-ABD7-C482-D7A3AD0399C5}"/>
          </ac:spMkLst>
        </pc:spChg>
        <pc:spChg chg="add del mod replST">
          <ac:chgData name="Lim, Sharon" userId="9ed40bdc-079d-4cee-a990-4411351f7f9c" providerId="ADAL" clId="{DD93C774-82BE-4DBD-AB5E-BA44CCD0E829}" dt="2023-08-31T09:41:44.058" v="34037"/>
          <ac:spMkLst>
            <pc:docMk/>
            <pc:sldMk cId="1876687592" sldId="312"/>
            <ac:spMk id="101" creationId="{157E2803-2BF7-ABD7-C482-D7A3AD0399C5}"/>
          </ac:spMkLst>
        </pc:spChg>
        <pc:spChg chg="add del mod replST">
          <ac:chgData name="Lim, Sharon" userId="9ed40bdc-079d-4cee-a990-4411351f7f9c" providerId="ADAL" clId="{DD93C774-82BE-4DBD-AB5E-BA44CCD0E829}" dt="2023-08-31T09:41:44.059" v="34038"/>
          <ac:spMkLst>
            <pc:docMk/>
            <pc:sldMk cId="1876687592" sldId="312"/>
            <ac:spMk id="102" creationId="{157E2803-2BF7-ABD7-C482-D7A3AD0399C5}"/>
          </ac:spMkLst>
        </pc:spChg>
        <pc:spChg chg="add del mod replST">
          <ac:chgData name="Lim, Sharon" userId="9ed40bdc-079d-4cee-a990-4411351f7f9c" providerId="ADAL" clId="{DD93C774-82BE-4DBD-AB5E-BA44CCD0E829}" dt="2023-08-31T09:41:44.060" v="34039"/>
          <ac:spMkLst>
            <pc:docMk/>
            <pc:sldMk cId="1876687592" sldId="312"/>
            <ac:spMk id="103" creationId="{157E2803-2BF7-ABD7-C482-D7A3AD0399C5}"/>
          </ac:spMkLst>
        </pc:spChg>
        <pc:spChg chg="add del mod replST">
          <ac:chgData name="Lim, Sharon" userId="9ed40bdc-079d-4cee-a990-4411351f7f9c" providerId="ADAL" clId="{DD93C774-82BE-4DBD-AB5E-BA44CCD0E829}" dt="2023-08-31T09:41:44.061" v="34040"/>
          <ac:spMkLst>
            <pc:docMk/>
            <pc:sldMk cId="1876687592" sldId="312"/>
            <ac:spMk id="104" creationId="{157E2803-2BF7-ABD7-C482-D7A3AD0399C5}"/>
          </ac:spMkLst>
        </pc:spChg>
        <pc:spChg chg="add del mod replST">
          <ac:chgData name="Lim, Sharon" userId="9ed40bdc-079d-4cee-a990-4411351f7f9c" providerId="ADAL" clId="{DD93C774-82BE-4DBD-AB5E-BA44CCD0E829}" dt="2023-08-31T09:41:44.062" v="34041"/>
          <ac:spMkLst>
            <pc:docMk/>
            <pc:sldMk cId="1876687592" sldId="312"/>
            <ac:spMk id="105" creationId="{157E2803-2BF7-ABD7-C482-D7A3AD0399C5}"/>
          </ac:spMkLst>
        </pc:spChg>
        <pc:spChg chg="add del mod replST">
          <ac:chgData name="Lim, Sharon" userId="9ed40bdc-079d-4cee-a990-4411351f7f9c" providerId="ADAL" clId="{DD93C774-82BE-4DBD-AB5E-BA44CCD0E829}" dt="2023-08-31T09:41:44.063" v="34042"/>
          <ac:spMkLst>
            <pc:docMk/>
            <pc:sldMk cId="1876687592" sldId="312"/>
            <ac:spMk id="106" creationId="{157E2803-2BF7-ABD7-C482-D7A3AD0399C5}"/>
          </ac:spMkLst>
        </pc:spChg>
        <pc:spChg chg="add del mod replST">
          <ac:chgData name="Lim, Sharon" userId="9ed40bdc-079d-4cee-a990-4411351f7f9c" providerId="ADAL" clId="{DD93C774-82BE-4DBD-AB5E-BA44CCD0E829}" dt="2023-08-31T09:41:44.064" v="34043"/>
          <ac:spMkLst>
            <pc:docMk/>
            <pc:sldMk cId="1876687592" sldId="312"/>
            <ac:spMk id="107" creationId="{157E2803-2BF7-ABD7-C482-D7A3AD0399C5}"/>
          </ac:spMkLst>
        </pc:spChg>
        <pc:spChg chg="add del mod modVis">
          <ac:chgData name="Lim, Sharon" userId="9ed40bdc-079d-4cee-a990-4411351f7f9c" providerId="ADAL" clId="{DD93C774-82BE-4DBD-AB5E-BA44CCD0E829}" dt="2023-08-31T09:41:44.136" v="34082"/>
          <ac:spMkLst>
            <pc:docMk/>
            <pc:sldMk cId="1876687592" sldId="312"/>
            <ac:spMk id="109" creationId="{AB36FEBB-7711-9F95-6AC1-0558527684E2}"/>
          </ac:spMkLst>
        </pc:spChg>
        <pc:spChg chg="add del mod modVis">
          <ac:chgData name="Lim, Sharon" userId="9ed40bdc-079d-4cee-a990-4411351f7f9c" providerId="ADAL" clId="{DD93C774-82BE-4DBD-AB5E-BA44CCD0E829}" dt="2023-08-31T09:43:11.748" v="34362"/>
          <ac:spMkLst>
            <pc:docMk/>
            <pc:sldMk cId="1876687592" sldId="312"/>
            <ac:spMk id="111" creationId="{408C647B-30D6-AB63-DD58-737CC7D98637}"/>
          </ac:spMkLst>
        </pc:spChg>
        <pc:spChg chg="add del mod modVis">
          <ac:chgData name="Lim, Sharon" userId="9ed40bdc-079d-4cee-a990-4411351f7f9c" providerId="ADAL" clId="{DD93C774-82BE-4DBD-AB5E-BA44CCD0E829}" dt="2023-08-31T09:43:17.850" v="34502"/>
          <ac:spMkLst>
            <pc:docMk/>
            <pc:sldMk cId="1876687592" sldId="312"/>
            <ac:spMk id="113" creationId="{8F73958A-6047-1903-496D-30BEAC32F0F3}"/>
          </ac:spMkLst>
        </pc:spChg>
        <pc:spChg chg="add del mod modVis">
          <ac:chgData name="Lim, Sharon" userId="9ed40bdc-079d-4cee-a990-4411351f7f9c" providerId="ADAL" clId="{DD93C774-82BE-4DBD-AB5E-BA44CCD0E829}" dt="2023-08-31T09:43:52.895" v="36652"/>
          <ac:spMkLst>
            <pc:docMk/>
            <pc:sldMk cId="1876687592" sldId="312"/>
            <ac:spMk id="115" creationId="{69CD274F-C635-2CEF-4A9B-697F5E73C6C8}"/>
          </ac:spMkLst>
        </pc:spChg>
        <pc:spChg chg="add mod replST delST">
          <ac:chgData name="Lim, Sharon" userId="9ed40bdc-079d-4cee-a990-4411351f7f9c" providerId="ADAL" clId="{DD93C774-82BE-4DBD-AB5E-BA44CCD0E829}" dt="2023-08-31T09:43:52.895" v="36652"/>
          <ac:spMkLst>
            <pc:docMk/>
            <pc:sldMk cId="1876687592" sldId="312"/>
            <ac:spMk id="116" creationId="{157E2803-2BF7-ABD7-C482-D7A3AD0399C5}"/>
          </ac:spMkLst>
        </pc:spChg>
        <pc:spChg chg="add mod replST delST">
          <ac:chgData name="Lim, Sharon" userId="9ed40bdc-079d-4cee-a990-4411351f7f9c" providerId="ADAL" clId="{DD93C774-82BE-4DBD-AB5E-BA44CCD0E829}" dt="2023-08-31T09:43:52.895" v="36652"/>
          <ac:spMkLst>
            <pc:docMk/>
            <pc:sldMk cId="1876687592" sldId="312"/>
            <ac:spMk id="117" creationId="{157E2803-2BF7-ABD7-C482-D7A3AD0399C5}"/>
          </ac:spMkLst>
        </pc:spChg>
        <pc:spChg chg="add del mod replST delST">
          <ac:chgData name="Lim, Sharon" userId="9ed40bdc-079d-4cee-a990-4411351f7f9c" providerId="ADAL" clId="{DD93C774-82BE-4DBD-AB5E-BA44CCD0E829}" dt="2023-08-31T09:43:52.895" v="36652"/>
          <ac:spMkLst>
            <pc:docMk/>
            <pc:sldMk cId="1876687592" sldId="312"/>
            <ac:spMk id="118" creationId="{157E2803-2BF7-ABD7-C482-D7A3AD0399C5}"/>
          </ac:spMkLst>
        </pc:spChg>
        <pc:spChg chg="add mod replST delST">
          <ac:chgData name="Lim, Sharon" userId="9ed40bdc-079d-4cee-a990-4411351f7f9c" providerId="ADAL" clId="{DD93C774-82BE-4DBD-AB5E-BA44CCD0E829}" dt="2023-08-31T09:43:52.895" v="36652"/>
          <ac:spMkLst>
            <pc:docMk/>
            <pc:sldMk cId="1876687592" sldId="312"/>
            <ac:spMk id="119" creationId="{157E2803-2BF7-ABD7-C482-D7A3AD0399C5}"/>
          </ac:spMkLst>
        </pc:spChg>
        <pc:spChg chg="add del mod replST delST">
          <ac:chgData name="Lim, Sharon" userId="9ed40bdc-079d-4cee-a990-4411351f7f9c" providerId="ADAL" clId="{DD93C774-82BE-4DBD-AB5E-BA44CCD0E829}" dt="2023-08-31T09:43:52.895" v="36652"/>
          <ac:spMkLst>
            <pc:docMk/>
            <pc:sldMk cId="1876687592" sldId="312"/>
            <ac:spMk id="120" creationId="{157E2803-2BF7-ABD7-C482-D7A3AD0399C5}"/>
          </ac:spMkLst>
        </pc:spChg>
        <pc:spChg chg="add mod replST delST">
          <ac:chgData name="Lim, Sharon" userId="9ed40bdc-079d-4cee-a990-4411351f7f9c" providerId="ADAL" clId="{DD93C774-82BE-4DBD-AB5E-BA44CCD0E829}" dt="2023-08-31T09:43:52.895" v="36652"/>
          <ac:spMkLst>
            <pc:docMk/>
            <pc:sldMk cId="1876687592" sldId="312"/>
            <ac:spMk id="121" creationId="{157E2803-2BF7-ABD7-C482-D7A3AD0399C5}"/>
          </ac:spMkLst>
        </pc:spChg>
        <pc:spChg chg="add del mod replST delST">
          <ac:chgData name="Lim, Sharon" userId="9ed40bdc-079d-4cee-a990-4411351f7f9c" providerId="ADAL" clId="{DD93C774-82BE-4DBD-AB5E-BA44CCD0E829}" dt="2023-08-31T09:43:52.895" v="36652"/>
          <ac:spMkLst>
            <pc:docMk/>
            <pc:sldMk cId="1876687592" sldId="312"/>
            <ac:spMk id="122" creationId="{157E2803-2BF7-ABD7-C482-D7A3AD0399C5}"/>
          </ac:spMkLst>
        </pc:spChg>
        <pc:spChg chg="add mod replST delST">
          <ac:chgData name="Lim, Sharon" userId="9ed40bdc-079d-4cee-a990-4411351f7f9c" providerId="ADAL" clId="{DD93C774-82BE-4DBD-AB5E-BA44CCD0E829}" dt="2023-08-31T09:43:52.895" v="36652"/>
          <ac:spMkLst>
            <pc:docMk/>
            <pc:sldMk cId="1876687592" sldId="312"/>
            <ac:spMk id="123" creationId="{157E2803-2BF7-ABD7-C482-D7A3AD0399C5}"/>
          </ac:spMkLst>
        </pc:spChg>
        <pc:spChg chg="add del mod modVis">
          <ac:chgData name="Lim, Sharon" userId="9ed40bdc-079d-4cee-a990-4411351f7f9c" providerId="ADAL" clId="{DD93C774-82BE-4DBD-AB5E-BA44CCD0E829}" dt="2023-08-31T09:43:51.225" v="36028"/>
          <ac:spMkLst>
            <pc:docMk/>
            <pc:sldMk cId="1876687592" sldId="312"/>
            <ac:spMk id="125" creationId="{1EBA1795-70BF-83F1-2C85-D2F54DDFF281}"/>
          </ac:spMkLst>
        </pc:spChg>
        <pc:spChg chg="add del mod modVis">
          <ac:chgData name="Lim, Sharon" userId="9ed40bdc-079d-4cee-a990-4411351f7f9c" providerId="ADAL" clId="{DD93C774-82BE-4DBD-AB5E-BA44CCD0E829}" dt="2023-08-31T09:43:49.505" v="35722"/>
          <ac:spMkLst>
            <pc:docMk/>
            <pc:sldMk cId="1876687592" sldId="312"/>
            <ac:spMk id="127" creationId="{AA588A33-997E-6C8F-D8C4-5A867D271FB2}"/>
          </ac:spMkLst>
        </pc:spChg>
        <pc:spChg chg="add del mod modVis">
          <ac:chgData name="Lim, Sharon" userId="9ed40bdc-079d-4cee-a990-4411351f7f9c" providerId="ADAL" clId="{DD93C774-82BE-4DBD-AB5E-BA44CCD0E829}" dt="2023-08-31T09:43:47.793" v="35416"/>
          <ac:spMkLst>
            <pc:docMk/>
            <pc:sldMk cId="1876687592" sldId="312"/>
            <ac:spMk id="129" creationId="{5F2CF5E1-3CA6-0531-E6AC-BB9BFCA08094}"/>
          </ac:spMkLst>
        </pc:spChg>
        <pc:spChg chg="add del mod modVis">
          <ac:chgData name="Lim, Sharon" userId="9ed40bdc-079d-4cee-a990-4411351f7f9c" providerId="ADAL" clId="{DD93C774-82BE-4DBD-AB5E-BA44CCD0E829}" dt="2023-08-31T09:43:49.505" v="35722"/>
          <ac:spMkLst>
            <pc:docMk/>
            <pc:sldMk cId="1876687592" sldId="312"/>
            <ac:spMk id="131" creationId="{9C07D967-4353-DC6C-DAC3-543A9A032475}"/>
          </ac:spMkLst>
        </pc:spChg>
        <pc:spChg chg="add del mod modVis">
          <ac:chgData name="Lim, Sharon" userId="9ed40bdc-079d-4cee-a990-4411351f7f9c" providerId="ADAL" clId="{DD93C774-82BE-4DBD-AB5E-BA44CCD0E829}" dt="2023-08-31T09:43:51.225" v="36028"/>
          <ac:spMkLst>
            <pc:docMk/>
            <pc:sldMk cId="1876687592" sldId="312"/>
            <ac:spMk id="133" creationId="{ADC740EE-19E8-E11F-F36F-BEE271B1CA73}"/>
          </ac:spMkLst>
        </pc:spChg>
        <pc:spChg chg="add del mod modVis">
          <ac:chgData name="Lim, Sharon" userId="9ed40bdc-079d-4cee-a990-4411351f7f9c" providerId="ADAL" clId="{DD93C774-82BE-4DBD-AB5E-BA44CCD0E829}" dt="2023-08-31T09:43:52.895" v="36652"/>
          <ac:spMkLst>
            <pc:docMk/>
            <pc:sldMk cId="1876687592" sldId="312"/>
            <ac:spMk id="135" creationId="{351EF17F-03B8-BFBA-A87D-8519A7075315}"/>
          </ac:spMkLst>
        </pc:spChg>
        <pc:spChg chg="add del mod modVis">
          <ac:chgData name="Lim, Sharon" userId="9ed40bdc-079d-4cee-a990-4411351f7f9c" providerId="ADAL" clId="{DD93C774-82BE-4DBD-AB5E-BA44CCD0E829}" dt="2023-08-31T09:43:57.050" v="37252"/>
          <ac:spMkLst>
            <pc:docMk/>
            <pc:sldMk cId="1876687592" sldId="312"/>
            <ac:spMk id="137" creationId="{9AA78101-191D-9562-8A43-6B2BF1487522}"/>
          </ac:spMkLst>
        </pc:spChg>
        <pc:spChg chg="add mod replST">
          <ac:chgData name="Lim, Sharon" userId="9ed40bdc-079d-4cee-a990-4411351f7f9c" providerId="ADAL" clId="{DD93C774-82BE-4DBD-AB5E-BA44CCD0E829}" dt="2023-09-01T03:25:51.709" v="66649"/>
          <ac:spMkLst>
            <pc:docMk/>
            <pc:sldMk cId="1876687592" sldId="312"/>
            <ac:spMk id="138" creationId="{157E2803-2BF7-ABD7-C482-D7A3AD0399C5}"/>
          </ac:spMkLst>
        </pc:spChg>
        <pc:spChg chg="add del mod replST">
          <ac:chgData name="Lim, Sharon" userId="9ed40bdc-079d-4cee-a990-4411351f7f9c" providerId="ADAL" clId="{DD93C774-82BE-4DBD-AB5E-BA44CCD0E829}" dt="2023-09-01T03:25:51.193" v="66547"/>
          <ac:spMkLst>
            <pc:docMk/>
            <pc:sldMk cId="1876687592" sldId="312"/>
            <ac:spMk id="139" creationId="{157E2803-2BF7-ABD7-C482-D7A3AD0399C5}"/>
          </ac:spMkLst>
        </pc:spChg>
        <pc:spChg chg="add del mod replST">
          <ac:chgData name="Lim, Sharon" userId="9ed40bdc-079d-4cee-a990-4411351f7f9c" providerId="ADAL" clId="{DD93C774-82BE-4DBD-AB5E-BA44CCD0E829}" dt="2023-09-01T03:25:51.191" v="66546"/>
          <ac:spMkLst>
            <pc:docMk/>
            <pc:sldMk cId="1876687592" sldId="312"/>
            <ac:spMk id="140" creationId="{157E2803-2BF7-ABD7-C482-D7A3AD0399C5}"/>
          </ac:spMkLst>
        </pc:spChg>
        <pc:spChg chg="add del mod replST">
          <ac:chgData name="Lim, Sharon" userId="9ed40bdc-079d-4cee-a990-4411351f7f9c" providerId="ADAL" clId="{DD93C774-82BE-4DBD-AB5E-BA44CCD0E829}" dt="2023-08-31T09:43:58.384" v="37255"/>
          <ac:spMkLst>
            <pc:docMk/>
            <pc:sldMk cId="1876687592" sldId="312"/>
            <ac:spMk id="141" creationId="{157E2803-2BF7-ABD7-C482-D7A3AD0399C5}"/>
          </ac:spMkLst>
        </pc:spChg>
        <pc:spChg chg="add del mod replST">
          <ac:chgData name="Lim, Sharon" userId="9ed40bdc-079d-4cee-a990-4411351f7f9c" providerId="ADAL" clId="{DD93C774-82BE-4DBD-AB5E-BA44CCD0E829}" dt="2023-09-01T03:25:51.190" v="66545"/>
          <ac:spMkLst>
            <pc:docMk/>
            <pc:sldMk cId="1876687592" sldId="312"/>
            <ac:spMk id="142" creationId="{157E2803-2BF7-ABD7-C482-D7A3AD0399C5}"/>
          </ac:spMkLst>
        </pc:spChg>
        <pc:spChg chg="add del mod replST">
          <ac:chgData name="Lim, Sharon" userId="9ed40bdc-079d-4cee-a990-4411351f7f9c" providerId="ADAL" clId="{DD93C774-82BE-4DBD-AB5E-BA44CCD0E829}" dt="2023-08-31T09:44:00.032" v="37354"/>
          <ac:spMkLst>
            <pc:docMk/>
            <pc:sldMk cId="1876687592" sldId="312"/>
            <ac:spMk id="143" creationId="{157E2803-2BF7-ABD7-C482-D7A3AD0399C5}"/>
          </ac:spMkLst>
        </pc:spChg>
        <pc:spChg chg="add del mod replST">
          <ac:chgData name="Lim, Sharon" userId="9ed40bdc-079d-4cee-a990-4411351f7f9c" providerId="ADAL" clId="{DD93C774-82BE-4DBD-AB5E-BA44CCD0E829}" dt="2023-09-01T03:25:51.187" v="66544"/>
          <ac:spMkLst>
            <pc:docMk/>
            <pc:sldMk cId="1876687592" sldId="312"/>
            <ac:spMk id="144" creationId="{157E2803-2BF7-ABD7-C482-D7A3AD0399C5}"/>
          </ac:spMkLst>
        </pc:spChg>
        <pc:spChg chg="add del mod replST">
          <ac:chgData name="Lim, Sharon" userId="9ed40bdc-079d-4cee-a990-4411351f7f9c" providerId="ADAL" clId="{DD93C774-82BE-4DBD-AB5E-BA44CCD0E829}" dt="2023-08-31T09:44:01.600" v="37451"/>
          <ac:spMkLst>
            <pc:docMk/>
            <pc:sldMk cId="1876687592" sldId="312"/>
            <ac:spMk id="145" creationId="{157E2803-2BF7-ABD7-C482-D7A3AD0399C5}"/>
          </ac:spMkLst>
        </pc:spChg>
        <pc:spChg chg="add del mod modVis">
          <ac:chgData name="Lim, Sharon" userId="9ed40bdc-079d-4cee-a990-4411351f7f9c" providerId="ADAL" clId="{DD93C774-82BE-4DBD-AB5E-BA44CCD0E829}" dt="2023-08-31T09:43:58.572" v="37351"/>
          <ac:spMkLst>
            <pc:docMk/>
            <pc:sldMk cId="1876687592" sldId="312"/>
            <ac:spMk id="147" creationId="{5AFEC5D0-869E-08D7-A7C2-23966A188A7A}"/>
          </ac:spMkLst>
        </pc:spChg>
        <pc:spChg chg="add del mod modVis">
          <ac:chgData name="Lim, Sharon" userId="9ed40bdc-079d-4cee-a990-4411351f7f9c" providerId="ADAL" clId="{DD93C774-82BE-4DBD-AB5E-BA44CCD0E829}" dt="2023-08-31T09:44:00.211" v="37448"/>
          <ac:spMkLst>
            <pc:docMk/>
            <pc:sldMk cId="1876687592" sldId="312"/>
            <ac:spMk id="149" creationId="{5E1EC0D7-0208-8F39-C3AF-D817CB315058}"/>
          </ac:spMkLst>
        </pc:spChg>
        <pc:spChg chg="add del mod modVis">
          <ac:chgData name="Lim, Sharon" userId="9ed40bdc-079d-4cee-a990-4411351f7f9c" providerId="ADAL" clId="{DD93C774-82BE-4DBD-AB5E-BA44CCD0E829}" dt="2023-08-31T09:44:01.755" v="37543"/>
          <ac:spMkLst>
            <pc:docMk/>
            <pc:sldMk cId="1876687592" sldId="312"/>
            <ac:spMk id="151" creationId="{12D22B54-3DFE-EA8A-896B-400B6A75B1C8}"/>
          </ac:spMkLst>
        </pc:spChg>
        <pc:spChg chg="add del mod modVis">
          <ac:chgData name="Lim, Sharon" userId="9ed40bdc-079d-4cee-a990-4411351f7f9c" providerId="ADAL" clId="{DD93C774-82BE-4DBD-AB5E-BA44CCD0E829}" dt="2023-08-31T09:44:12.461" v="37741"/>
          <ac:spMkLst>
            <pc:docMk/>
            <pc:sldMk cId="1876687592" sldId="312"/>
            <ac:spMk id="153" creationId="{9EE772C9-ADCC-7FB4-2E65-9D9AE0FBB3C6}"/>
          </ac:spMkLst>
        </pc:spChg>
        <pc:spChg chg="add del mod ord replST">
          <ac:chgData name="Lim, Sharon" userId="9ed40bdc-079d-4cee-a990-4411351f7f9c" providerId="ADAL" clId="{DD93C774-82BE-4DBD-AB5E-BA44CCD0E829}" dt="2023-08-31T09:44:20.225" v="37846"/>
          <ac:spMkLst>
            <pc:docMk/>
            <pc:sldMk cId="1876687592" sldId="312"/>
            <ac:spMk id="154" creationId="{157E2803-2BF7-ABD7-C482-D7A3AD0399C5}"/>
          </ac:spMkLst>
        </pc:spChg>
        <pc:spChg chg="add del mod modVis">
          <ac:chgData name="Lim, Sharon" userId="9ed40bdc-079d-4cee-a990-4411351f7f9c" providerId="ADAL" clId="{DD93C774-82BE-4DBD-AB5E-BA44CCD0E829}" dt="2023-08-31T09:44:20.197" v="37840"/>
          <ac:spMkLst>
            <pc:docMk/>
            <pc:sldMk cId="1876687592" sldId="312"/>
            <ac:spMk id="157" creationId="{2F4AB8C8-14E7-EF28-F3F0-FB1EA4F06F39}"/>
          </ac:spMkLst>
        </pc:spChg>
        <pc:spChg chg="add del mod modVis">
          <ac:chgData name="Lim, Sharon" userId="9ed40bdc-079d-4cee-a990-4411351f7f9c" providerId="ADAL" clId="{DD93C774-82BE-4DBD-AB5E-BA44CCD0E829}" dt="2023-08-31T09:44:20.382" v="37938"/>
          <ac:spMkLst>
            <pc:docMk/>
            <pc:sldMk cId="1876687592" sldId="312"/>
            <ac:spMk id="159" creationId="{2D8F82F3-F90B-71A5-953F-044A115442E9}"/>
          </ac:spMkLst>
        </pc:spChg>
        <pc:spChg chg="add del mod modVis">
          <ac:chgData name="Lim, Sharon" userId="9ed40bdc-079d-4cee-a990-4411351f7f9c" providerId="ADAL" clId="{DD93C774-82BE-4DBD-AB5E-BA44CCD0E829}" dt="2023-08-31T09:44:21.779" v="38032"/>
          <ac:spMkLst>
            <pc:docMk/>
            <pc:sldMk cId="1876687592" sldId="312"/>
            <ac:spMk id="161" creationId="{0914305D-0C0E-07D6-0AD4-0F7DB2A4BDD6}"/>
          </ac:spMkLst>
        </pc:spChg>
        <pc:spChg chg="add del mod modVis">
          <ac:chgData name="Lim, Sharon" userId="9ed40bdc-079d-4cee-a990-4411351f7f9c" providerId="ADAL" clId="{DD93C774-82BE-4DBD-AB5E-BA44CCD0E829}" dt="2023-08-31T09:44:26.108" v="38126"/>
          <ac:spMkLst>
            <pc:docMk/>
            <pc:sldMk cId="1876687592" sldId="312"/>
            <ac:spMk id="163" creationId="{79E4F09D-6A2E-1A86-5940-C8EEA6F09AC5}"/>
          </ac:spMkLst>
        </pc:spChg>
        <pc:spChg chg="add del mod modVis">
          <ac:chgData name="Lim, Sharon" userId="9ed40bdc-079d-4cee-a990-4411351f7f9c" providerId="ADAL" clId="{DD93C774-82BE-4DBD-AB5E-BA44CCD0E829}" dt="2023-08-31T09:44:27.568" v="38220"/>
          <ac:spMkLst>
            <pc:docMk/>
            <pc:sldMk cId="1876687592" sldId="312"/>
            <ac:spMk id="165" creationId="{351327AC-BB6F-5707-7CD1-6626E11AE093}"/>
          </ac:spMkLst>
        </pc:spChg>
        <pc:spChg chg="add del mod modVis">
          <ac:chgData name="Lim, Sharon" userId="9ed40bdc-079d-4cee-a990-4411351f7f9c" providerId="ADAL" clId="{DD93C774-82BE-4DBD-AB5E-BA44CCD0E829}" dt="2023-08-31T09:44:32.563" v="38418"/>
          <ac:spMkLst>
            <pc:docMk/>
            <pc:sldMk cId="1876687592" sldId="312"/>
            <ac:spMk id="167" creationId="{538ECCCA-88C2-7914-D6B9-A04AF8413BE6}"/>
          </ac:spMkLst>
        </pc:spChg>
        <pc:spChg chg="add del mod ord replST">
          <ac:chgData name="Lim, Sharon" userId="9ed40bdc-079d-4cee-a990-4411351f7f9c" providerId="ADAL" clId="{DD93C774-82BE-4DBD-AB5E-BA44CCD0E829}" dt="2023-08-31T09:44:37.416" v="38622"/>
          <ac:spMkLst>
            <pc:docMk/>
            <pc:sldMk cId="1876687592" sldId="312"/>
            <ac:spMk id="168" creationId="{157E2803-2BF7-ABD7-C482-D7A3AD0399C5}"/>
          </ac:spMkLst>
        </pc:spChg>
        <pc:spChg chg="add del mod modVis">
          <ac:chgData name="Lim, Sharon" userId="9ed40bdc-079d-4cee-a990-4411351f7f9c" providerId="ADAL" clId="{DD93C774-82BE-4DBD-AB5E-BA44CCD0E829}" dt="2023-08-31T09:44:35.280" v="38517"/>
          <ac:spMkLst>
            <pc:docMk/>
            <pc:sldMk cId="1876687592" sldId="312"/>
            <ac:spMk id="171" creationId="{4B23D250-22B9-DFE2-A72A-63038FA71D37}"/>
          </ac:spMkLst>
        </pc:spChg>
        <pc:spChg chg="add del mod modVis">
          <ac:chgData name="Lim, Sharon" userId="9ed40bdc-079d-4cee-a990-4411351f7f9c" providerId="ADAL" clId="{DD93C774-82BE-4DBD-AB5E-BA44CCD0E829}" dt="2023-08-31T09:44:36.526" v="38616"/>
          <ac:spMkLst>
            <pc:docMk/>
            <pc:sldMk cId="1876687592" sldId="312"/>
            <ac:spMk id="173" creationId="{0116AA73-33C4-0914-B935-92FA08CA770C}"/>
          </ac:spMkLst>
        </pc:spChg>
        <pc:spChg chg="add del mod modVis">
          <ac:chgData name="Lim, Sharon" userId="9ed40bdc-079d-4cee-a990-4411351f7f9c" providerId="ADAL" clId="{DD93C774-82BE-4DBD-AB5E-BA44CCD0E829}" dt="2023-08-31T09:44:37.565" v="38714"/>
          <ac:spMkLst>
            <pc:docMk/>
            <pc:sldMk cId="1876687592" sldId="312"/>
            <ac:spMk id="175" creationId="{D4A1F7EF-BDE9-B868-3B90-9D414862DF1B}"/>
          </ac:spMkLst>
        </pc:spChg>
        <pc:spChg chg="add del mod modVis">
          <ac:chgData name="Lim, Sharon" userId="9ed40bdc-079d-4cee-a990-4411351f7f9c" providerId="ADAL" clId="{DD93C774-82BE-4DBD-AB5E-BA44CCD0E829}" dt="2023-08-31T09:44:38.721" v="38808"/>
          <ac:spMkLst>
            <pc:docMk/>
            <pc:sldMk cId="1876687592" sldId="312"/>
            <ac:spMk id="177" creationId="{459F141F-71DD-2C90-6BF6-9FC900D1273F}"/>
          </ac:spMkLst>
        </pc:spChg>
        <pc:spChg chg="add del mod modVis">
          <ac:chgData name="Lim, Sharon" userId="9ed40bdc-079d-4cee-a990-4411351f7f9c" providerId="ADAL" clId="{DD93C774-82BE-4DBD-AB5E-BA44CCD0E829}" dt="2023-08-31T09:44:42.056" v="39040"/>
          <ac:spMkLst>
            <pc:docMk/>
            <pc:sldMk cId="1876687592" sldId="312"/>
            <ac:spMk id="179" creationId="{C0C7A983-1948-A8DF-47E9-E705B7E59551}"/>
          </ac:spMkLst>
        </pc:spChg>
        <pc:spChg chg="add del mod ord replST">
          <ac:chgData name="Lim, Sharon" userId="9ed40bdc-079d-4cee-a990-4411351f7f9c" providerId="ADAL" clId="{DD93C774-82BE-4DBD-AB5E-BA44CCD0E829}" dt="2023-08-31T09:44:44.819" v="39149"/>
          <ac:spMkLst>
            <pc:docMk/>
            <pc:sldMk cId="1876687592" sldId="312"/>
            <ac:spMk id="180" creationId="{157E2803-2BF7-ABD7-C482-D7A3AD0399C5}"/>
          </ac:spMkLst>
        </pc:spChg>
        <pc:spChg chg="add del mod modVis">
          <ac:chgData name="Lim, Sharon" userId="9ed40bdc-079d-4cee-a990-4411351f7f9c" providerId="ADAL" clId="{DD93C774-82BE-4DBD-AB5E-BA44CCD0E829}" dt="2023-08-31T09:44:43.973" v="39143"/>
          <ac:spMkLst>
            <pc:docMk/>
            <pc:sldMk cId="1876687592" sldId="312"/>
            <ac:spMk id="185" creationId="{2A4BDD52-5C46-0514-3576-3EF2CFC211D3}"/>
          </ac:spMkLst>
        </pc:spChg>
        <pc:spChg chg="add del mod modVis">
          <ac:chgData name="Lim, Sharon" userId="9ed40bdc-079d-4cee-a990-4411351f7f9c" providerId="ADAL" clId="{DD93C774-82BE-4DBD-AB5E-BA44CCD0E829}" dt="2023-08-31T09:44:45.020" v="39243"/>
          <ac:spMkLst>
            <pc:docMk/>
            <pc:sldMk cId="1876687592" sldId="312"/>
            <ac:spMk id="187" creationId="{EBF85AEB-61F5-FA2A-676E-DB5BD6B3BD90}"/>
          </ac:spMkLst>
        </pc:spChg>
        <pc:spChg chg="add del mod modVis">
          <ac:chgData name="Lim, Sharon" userId="9ed40bdc-079d-4cee-a990-4411351f7f9c" providerId="ADAL" clId="{DD93C774-82BE-4DBD-AB5E-BA44CCD0E829}" dt="2023-08-31T09:44:45.995" v="39339"/>
          <ac:spMkLst>
            <pc:docMk/>
            <pc:sldMk cId="1876687592" sldId="312"/>
            <ac:spMk id="189" creationId="{5BC8885A-35B2-949F-CC7B-4C57DC05DF32}"/>
          </ac:spMkLst>
        </pc:spChg>
        <pc:spChg chg="add del mod modVis">
          <ac:chgData name="Lim, Sharon" userId="9ed40bdc-079d-4cee-a990-4411351f7f9c" providerId="ADAL" clId="{DD93C774-82BE-4DBD-AB5E-BA44CCD0E829}" dt="2023-08-31T09:44:49.901" v="39433"/>
          <ac:spMkLst>
            <pc:docMk/>
            <pc:sldMk cId="1876687592" sldId="312"/>
            <ac:spMk id="191" creationId="{72B3D777-3F70-6118-B47A-03295B400BA2}"/>
          </ac:spMkLst>
        </pc:spChg>
        <pc:spChg chg="add del mod modVis">
          <ac:chgData name="Lim, Sharon" userId="9ed40bdc-079d-4cee-a990-4411351f7f9c" providerId="ADAL" clId="{DD93C774-82BE-4DBD-AB5E-BA44CCD0E829}" dt="2023-08-31T09:44:52.247" v="39648"/>
          <ac:spMkLst>
            <pc:docMk/>
            <pc:sldMk cId="1876687592" sldId="312"/>
            <ac:spMk id="193" creationId="{DA5F46AE-F5E3-91D7-02B5-154EC03BFF45}"/>
          </ac:spMkLst>
        </pc:spChg>
        <pc:spChg chg="add del mod ord replST">
          <ac:chgData name="Lim, Sharon" userId="9ed40bdc-079d-4cee-a990-4411351f7f9c" providerId="ADAL" clId="{DD93C774-82BE-4DBD-AB5E-BA44CCD0E829}" dt="2023-08-31T09:44:58.658" v="39957"/>
          <ac:spMkLst>
            <pc:docMk/>
            <pc:sldMk cId="1876687592" sldId="312"/>
            <ac:spMk id="194" creationId="{157E2803-2BF7-ABD7-C482-D7A3AD0399C5}"/>
          </ac:spMkLst>
        </pc:spChg>
        <pc:spChg chg="add del mod modVis">
          <ac:chgData name="Lim, Sharon" userId="9ed40bdc-079d-4cee-a990-4411351f7f9c" providerId="ADAL" clId="{DD93C774-82BE-4DBD-AB5E-BA44CCD0E829}" dt="2023-08-31T09:44:54.541" v="39749"/>
          <ac:spMkLst>
            <pc:docMk/>
            <pc:sldMk cId="1876687592" sldId="312"/>
            <ac:spMk id="198" creationId="{69AA35BE-ECA1-849C-42AF-6DA4DF9BCC34}"/>
          </ac:spMkLst>
        </pc:spChg>
        <pc:spChg chg="add del mod modVis">
          <ac:chgData name="Lim, Sharon" userId="9ed40bdc-079d-4cee-a990-4411351f7f9c" providerId="ADAL" clId="{DD93C774-82BE-4DBD-AB5E-BA44CCD0E829}" dt="2023-08-31T09:44:55.825" v="39850"/>
          <ac:spMkLst>
            <pc:docMk/>
            <pc:sldMk cId="1876687592" sldId="312"/>
            <ac:spMk id="200" creationId="{7CEE5965-02A3-2B3C-3074-2E67D5B11742}"/>
          </ac:spMkLst>
        </pc:spChg>
        <pc:spChg chg="add del mod modVis">
          <ac:chgData name="Lim, Sharon" userId="9ed40bdc-079d-4cee-a990-4411351f7f9c" providerId="ADAL" clId="{DD93C774-82BE-4DBD-AB5E-BA44CCD0E829}" dt="2023-08-31T09:44:57.469" v="39951"/>
          <ac:spMkLst>
            <pc:docMk/>
            <pc:sldMk cId="1876687592" sldId="312"/>
            <ac:spMk id="202" creationId="{05D3AC41-1D22-4EFE-E9CA-A900A97AA593}"/>
          </ac:spMkLst>
        </pc:spChg>
        <pc:spChg chg="add del mod modVis">
          <ac:chgData name="Lim, Sharon" userId="9ed40bdc-079d-4cee-a990-4411351f7f9c" providerId="ADAL" clId="{DD93C774-82BE-4DBD-AB5E-BA44CCD0E829}" dt="2023-08-31T09:44:58.879" v="40051"/>
          <ac:spMkLst>
            <pc:docMk/>
            <pc:sldMk cId="1876687592" sldId="312"/>
            <ac:spMk id="204" creationId="{80853C00-0889-A813-1EB6-0822315EACCB}"/>
          </ac:spMkLst>
        </pc:spChg>
        <pc:spChg chg="add del mod modVis">
          <ac:chgData name="Lim, Sharon" userId="9ed40bdc-079d-4cee-a990-4411351f7f9c" providerId="ADAL" clId="{DD93C774-82BE-4DBD-AB5E-BA44CCD0E829}" dt="2023-08-31T09:45:22.758" v="40240"/>
          <ac:spMkLst>
            <pc:docMk/>
            <pc:sldMk cId="1876687592" sldId="312"/>
            <ac:spMk id="206" creationId="{034AB536-C8F3-6522-8845-0E9BB4788A4F}"/>
          </ac:spMkLst>
        </pc:spChg>
        <pc:spChg chg="add del mod ord replST">
          <ac:chgData name="Lim, Sharon" userId="9ed40bdc-079d-4cee-a990-4411351f7f9c" providerId="ADAL" clId="{DD93C774-82BE-4DBD-AB5E-BA44CCD0E829}" dt="2023-08-31T09:45:39.863" v="40416"/>
          <ac:spMkLst>
            <pc:docMk/>
            <pc:sldMk cId="1876687592" sldId="312"/>
            <ac:spMk id="207" creationId="{157E2803-2BF7-ABD7-C482-D7A3AD0399C5}"/>
          </ac:spMkLst>
        </pc:spChg>
        <pc:spChg chg="add del mod modVis">
          <ac:chgData name="Lim, Sharon" userId="9ed40bdc-079d-4cee-a990-4411351f7f9c" providerId="ADAL" clId="{DD93C774-82BE-4DBD-AB5E-BA44CCD0E829}" dt="2023-08-31T09:45:39.971" v="40522"/>
          <ac:spMkLst>
            <pc:docMk/>
            <pc:sldMk cId="1876687592" sldId="312"/>
            <ac:spMk id="209" creationId="{C0AFAF99-D1F2-CAEB-4B37-56432BCD7973}"/>
          </ac:spMkLst>
        </pc:spChg>
        <pc:spChg chg="add mod ord">
          <ac:chgData name="Lim, Sharon" userId="9ed40bdc-079d-4cee-a990-4411351f7f9c" providerId="ADAL" clId="{DD93C774-82BE-4DBD-AB5E-BA44CCD0E829}" dt="2023-09-01T03:25:51.732" v="66671"/>
          <ac:spMkLst>
            <pc:docMk/>
            <pc:sldMk cId="1876687592" sldId="312"/>
            <ac:spMk id="212" creationId="{A5D9DAEA-8AC6-1EB2-4AD9-0F04D4C7DB09}"/>
          </ac:spMkLst>
        </pc:spChg>
        <pc:spChg chg="add del mod modVis">
          <ac:chgData name="Lim, Sharon" userId="9ed40bdc-079d-4cee-a990-4411351f7f9c" providerId="ADAL" clId="{DD93C774-82BE-4DBD-AB5E-BA44CCD0E829}" dt="2023-09-01T03:25:51.744" v="66675"/>
          <ac:spMkLst>
            <pc:docMk/>
            <pc:sldMk cId="1876687592" sldId="312"/>
            <ac:spMk id="213" creationId="{4395E526-FAF6-45FD-DCB7-4254997B98EB}"/>
          </ac:spMkLst>
        </pc:spChg>
        <pc:spChg chg="add mod ord replST">
          <ac:chgData name="Lim, Sharon" userId="9ed40bdc-079d-4cee-a990-4411351f7f9c" providerId="ADAL" clId="{DD93C774-82BE-4DBD-AB5E-BA44CCD0E829}" dt="2023-09-01T03:25:51.712" v="66653"/>
          <ac:spMkLst>
            <pc:docMk/>
            <pc:sldMk cId="1876687592" sldId="312"/>
            <ac:spMk id="214" creationId="{157E2803-2BF7-ABD7-C482-D7A3AD0399C5}"/>
          </ac:spMkLst>
        </pc:spChg>
        <pc:graphicFrameChg chg="mod">
          <ac:chgData name="Lim, Sharon" userId="9ed40bdc-079d-4cee-a990-4411351f7f9c" providerId="ADAL" clId="{DD93C774-82BE-4DBD-AB5E-BA44CCD0E829}" dt="2023-09-01T03:25:55.830" v="66807"/>
          <ac:graphicFrameMkLst>
            <pc:docMk/>
            <pc:sldMk cId="1876687592" sldId="312"/>
            <ac:graphicFrameMk id="4" creationId="{DF641BDA-2511-C092-BA40-27C321E82FFD}"/>
          </ac:graphicFrameMkLst>
        </pc:graphicFrameChg>
        <pc:graphicFrameChg chg="add del mod replST">
          <ac:chgData name="Lim, Sharon" userId="9ed40bdc-079d-4cee-a990-4411351f7f9c" providerId="ADAL" clId="{DD93C774-82BE-4DBD-AB5E-BA44CCD0E829}" dt="2023-08-31T09:31:35.835" v="29223"/>
          <ac:graphicFrameMkLst>
            <pc:docMk/>
            <pc:sldMk cId="1876687592" sldId="312"/>
            <ac:graphicFrameMk id="18" creationId="{FA143329-EBB8-E61A-3FE9-F364AECC755B}"/>
          </ac:graphicFrameMkLst>
        </pc:graphicFrameChg>
        <pc:graphicFrameChg chg="add del mod replST">
          <ac:chgData name="Lim, Sharon" userId="9ed40bdc-079d-4cee-a990-4411351f7f9c" providerId="ADAL" clId="{DD93C774-82BE-4DBD-AB5E-BA44CCD0E829}" dt="2023-08-31T09:35:58.205" v="29330"/>
          <ac:graphicFrameMkLst>
            <pc:docMk/>
            <pc:sldMk cId="1876687592" sldId="312"/>
            <ac:graphicFrameMk id="40" creationId="{51345712-D983-7903-B5FA-B9814A73683D}"/>
          </ac:graphicFrameMkLst>
        </pc:graphicFrameChg>
        <pc:graphicFrameChg chg="add del mod replST">
          <ac:chgData name="Lim, Sharon" userId="9ed40bdc-079d-4cee-a990-4411351f7f9c" providerId="ADAL" clId="{DD93C774-82BE-4DBD-AB5E-BA44CCD0E829}" dt="2023-08-31T09:36:11.314" v="29601"/>
          <ac:graphicFrameMkLst>
            <pc:docMk/>
            <pc:sldMk cId="1876687592" sldId="312"/>
            <ac:graphicFrameMk id="44" creationId="{91028674-B558-861A-5816-480D66CC836A}"/>
          </ac:graphicFrameMkLst>
        </pc:graphicFrameChg>
        <pc:graphicFrameChg chg="add del mod replST">
          <ac:chgData name="Lim, Sharon" userId="9ed40bdc-079d-4cee-a990-4411351f7f9c" providerId="ADAL" clId="{DD93C774-82BE-4DBD-AB5E-BA44CCD0E829}" dt="2023-08-31T09:36:14.580" v="29677"/>
          <ac:graphicFrameMkLst>
            <pc:docMk/>
            <pc:sldMk cId="1876687592" sldId="312"/>
            <ac:graphicFrameMk id="46" creationId="{83D92620-3445-DA1D-D34A-4310AC2B04C9}"/>
          </ac:graphicFrameMkLst>
        </pc:graphicFrameChg>
        <pc:graphicFrameChg chg="add del mod replST">
          <ac:chgData name="Lim, Sharon" userId="9ed40bdc-079d-4cee-a990-4411351f7f9c" providerId="ADAL" clId="{DD93C774-82BE-4DBD-AB5E-BA44CCD0E829}" dt="2023-08-31T09:36:15.537" v="29753"/>
          <ac:graphicFrameMkLst>
            <pc:docMk/>
            <pc:sldMk cId="1876687592" sldId="312"/>
            <ac:graphicFrameMk id="48" creationId="{A4F74C5D-6917-2524-F6F3-5663A29CFBBA}"/>
          </ac:graphicFrameMkLst>
        </pc:graphicFrameChg>
        <pc:graphicFrameChg chg="add del mod replST">
          <ac:chgData name="Lim, Sharon" userId="9ed40bdc-079d-4cee-a990-4411351f7f9c" providerId="ADAL" clId="{DD93C774-82BE-4DBD-AB5E-BA44CCD0E829}" dt="2023-08-31T09:36:24.865" v="29855"/>
          <ac:graphicFrameMkLst>
            <pc:docMk/>
            <pc:sldMk cId="1876687592" sldId="312"/>
            <ac:graphicFrameMk id="50" creationId="{F36C07A8-B5C1-82FC-541F-66377AB05981}"/>
          </ac:graphicFrameMkLst>
        </pc:graphicFrameChg>
        <pc:graphicFrameChg chg="add del mod replST">
          <ac:chgData name="Lim, Sharon" userId="9ed40bdc-079d-4cee-a990-4411351f7f9c" providerId="ADAL" clId="{DD93C774-82BE-4DBD-AB5E-BA44CCD0E829}" dt="2023-08-31T09:36:30.576" v="30065"/>
          <ac:graphicFrameMkLst>
            <pc:docMk/>
            <pc:sldMk cId="1876687592" sldId="312"/>
            <ac:graphicFrameMk id="52" creationId="{607B36B2-CFD7-CDEA-5B04-1179AAB3030B}"/>
          </ac:graphicFrameMkLst>
        </pc:graphicFrameChg>
        <pc:graphicFrameChg chg="add del mod replST">
          <ac:chgData name="Lim, Sharon" userId="9ed40bdc-079d-4cee-a990-4411351f7f9c" providerId="ADAL" clId="{DD93C774-82BE-4DBD-AB5E-BA44CCD0E829}" dt="2023-08-31T09:36:51.957" v="30193"/>
          <ac:graphicFrameMkLst>
            <pc:docMk/>
            <pc:sldMk cId="1876687592" sldId="312"/>
            <ac:graphicFrameMk id="59" creationId="{C9DA32A7-D631-6186-85CB-D941FF5CAA1D}"/>
          </ac:graphicFrameMkLst>
        </pc:graphicFrameChg>
        <pc:graphicFrameChg chg="add del mod replST">
          <ac:chgData name="Lim, Sharon" userId="9ed40bdc-079d-4cee-a990-4411351f7f9c" providerId="ADAL" clId="{DD93C774-82BE-4DBD-AB5E-BA44CCD0E829}" dt="2023-08-31T09:37:15.201" v="31214"/>
          <ac:graphicFrameMkLst>
            <pc:docMk/>
            <pc:sldMk cId="1876687592" sldId="312"/>
            <ac:graphicFrameMk id="61" creationId="{C31CF98F-8FA5-EA4B-A121-99BEE0F8B1A3}"/>
          </ac:graphicFrameMkLst>
        </pc:graphicFrameChg>
        <pc:graphicFrameChg chg="add del mod replST">
          <ac:chgData name="Lim, Sharon" userId="9ed40bdc-079d-4cee-a990-4411351f7f9c" providerId="ADAL" clId="{DD93C774-82BE-4DBD-AB5E-BA44CCD0E829}" dt="2023-08-31T09:37:20.590" v="31300"/>
          <ac:graphicFrameMkLst>
            <pc:docMk/>
            <pc:sldMk cId="1876687592" sldId="312"/>
            <ac:graphicFrameMk id="68" creationId="{D69170B6-2AC3-21DF-AE0A-D700A3877252}"/>
          </ac:graphicFrameMkLst>
        </pc:graphicFrameChg>
        <pc:graphicFrameChg chg="add del mod replST">
          <ac:chgData name="Lim, Sharon" userId="9ed40bdc-079d-4cee-a990-4411351f7f9c" providerId="ADAL" clId="{DD93C774-82BE-4DBD-AB5E-BA44CCD0E829}" dt="2023-08-31T09:37:23.907" v="31386"/>
          <ac:graphicFrameMkLst>
            <pc:docMk/>
            <pc:sldMk cId="1876687592" sldId="312"/>
            <ac:graphicFrameMk id="70" creationId="{B1B8C46C-3EB5-257B-48BA-34A18F653D43}"/>
          </ac:graphicFrameMkLst>
        </pc:graphicFrameChg>
        <pc:graphicFrameChg chg="add del mod replST">
          <ac:chgData name="Lim, Sharon" userId="9ed40bdc-079d-4cee-a990-4411351f7f9c" providerId="ADAL" clId="{DD93C774-82BE-4DBD-AB5E-BA44CCD0E829}" dt="2023-08-31T09:38:19.225" v="31472"/>
          <ac:graphicFrameMkLst>
            <pc:docMk/>
            <pc:sldMk cId="1876687592" sldId="312"/>
            <ac:graphicFrameMk id="72" creationId="{7A75D89E-C311-51A7-586E-C14513A5B74F}"/>
          </ac:graphicFrameMkLst>
        </pc:graphicFrameChg>
        <pc:graphicFrameChg chg="add del mod replST">
          <ac:chgData name="Lim, Sharon" userId="9ed40bdc-079d-4cee-a990-4411351f7f9c" providerId="ADAL" clId="{DD93C774-82BE-4DBD-AB5E-BA44CCD0E829}" dt="2023-08-31T09:38:37.088" v="31629"/>
          <ac:graphicFrameMkLst>
            <pc:docMk/>
            <pc:sldMk cId="1876687592" sldId="312"/>
            <ac:graphicFrameMk id="74" creationId="{A940222D-6228-3839-C453-28254E986BE4}"/>
          </ac:graphicFrameMkLst>
        </pc:graphicFrameChg>
        <pc:graphicFrameChg chg="add del mod replST">
          <ac:chgData name="Lim, Sharon" userId="9ed40bdc-079d-4cee-a990-4411351f7f9c" providerId="ADAL" clId="{DD93C774-82BE-4DBD-AB5E-BA44CCD0E829}" dt="2023-08-31T09:38:44.104" v="31785"/>
          <ac:graphicFrameMkLst>
            <pc:docMk/>
            <pc:sldMk cId="1876687592" sldId="312"/>
            <ac:graphicFrameMk id="76" creationId="{B46D13CE-C5E6-C333-735B-4B5AF16767BD}"/>
          </ac:graphicFrameMkLst>
        </pc:graphicFrameChg>
        <pc:graphicFrameChg chg="add del mod replST">
          <ac:chgData name="Lim, Sharon" userId="9ed40bdc-079d-4cee-a990-4411351f7f9c" providerId="ADAL" clId="{DD93C774-82BE-4DBD-AB5E-BA44CCD0E829}" dt="2023-08-31T09:38:53.530" v="31941"/>
          <ac:graphicFrameMkLst>
            <pc:docMk/>
            <pc:sldMk cId="1876687592" sldId="312"/>
            <ac:graphicFrameMk id="78" creationId="{E2136BA5-2323-6264-D01C-8A6CDFB56BD0}"/>
          </ac:graphicFrameMkLst>
        </pc:graphicFrameChg>
        <pc:graphicFrameChg chg="add del mod replST">
          <ac:chgData name="Lim, Sharon" userId="9ed40bdc-079d-4cee-a990-4411351f7f9c" providerId="ADAL" clId="{DD93C774-82BE-4DBD-AB5E-BA44CCD0E829}" dt="2023-08-31T09:39:03.048" v="32097"/>
          <ac:graphicFrameMkLst>
            <pc:docMk/>
            <pc:sldMk cId="1876687592" sldId="312"/>
            <ac:graphicFrameMk id="80" creationId="{9B9E196A-C76F-93E0-44F7-800D74285BE2}"/>
          </ac:graphicFrameMkLst>
        </pc:graphicFrameChg>
        <pc:graphicFrameChg chg="add del mod replST">
          <ac:chgData name="Lim, Sharon" userId="9ed40bdc-079d-4cee-a990-4411351f7f9c" providerId="ADAL" clId="{DD93C774-82BE-4DBD-AB5E-BA44CCD0E829}" dt="2023-08-31T09:39:34.639" v="32255"/>
          <ac:graphicFrameMkLst>
            <pc:docMk/>
            <pc:sldMk cId="1876687592" sldId="312"/>
            <ac:graphicFrameMk id="82" creationId="{BD89B8FB-E7DD-18E8-4DEF-A7923D8CA4DB}"/>
          </ac:graphicFrameMkLst>
        </pc:graphicFrameChg>
        <pc:graphicFrameChg chg="add del mod replST">
          <ac:chgData name="Lim, Sharon" userId="9ed40bdc-079d-4cee-a990-4411351f7f9c" providerId="ADAL" clId="{DD93C774-82BE-4DBD-AB5E-BA44CCD0E829}" dt="2023-08-31T09:39:40.585" v="32411"/>
          <ac:graphicFrameMkLst>
            <pc:docMk/>
            <pc:sldMk cId="1876687592" sldId="312"/>
            <ac:graphicFrameMk id="84" creationId="{2CD4C11B-9ACE-0AAA-E930-BD61E8DE0619}"/>
          </ac:graphicFrameMkLst>
        </pc:graphicFrameChg>
        <pc:graphicFrameChg chg="add del mod replST">
          <ac:chgData name="Lim, Sharon" userId="9ed40bdc-079d-4cee-a990-4411351f7f9c" providerId="ADAL" clId="{DD93C774-82BE-4DBD-AB5E-BA44CCD0E829}" dt="2023-08-31T09:39:58.912" v="32549"/>
          <ac:graphicFrameMkLst>
            <pc:docMk/>
            <pc:sldMk cId="1876687592" sldId="312"/>
            <ac:graphicFrameMk id="86" creationId="{7C0BA5A7-A7B8-7A16-6AC8-B7AB9C948CDE}"/>
          </ac:graphicFrameMkLst>
        </pc:graphicFrameChg>
        <pc:graphicFrameChg chg="add del mod replST">
          <ac:chgData name="Lim, Sharon" userId="9ed40bdc-079d-4cee-a990-4411351f7f9c" providerId="ADAL" clId="{DD93C774-82BE-4DBD-AB5E-BA44CCD0E829}" dt="2023-08-31T09:40:10.458" v="32687"/>
          <ac:graphicFrameMkLst>
            <pc:docMk/>
            <pc:sldMk cId="1876687592" sldId="312"/>
            <ac:graphicFrameMk id="88" creationId="{24EEAE77-F9CE-3909-5345-4E978DEDE99A}"/>
          </ac:graphicFrameMkLst>
        </pc:graphicFrameChg>
        <pc:graphicFrameChg chg="add del mod replST">
          <ac:chgData name="Lim, Sharon" userId="9ed40bdc-079d-4cee-a990-4411351f7f9c" providerId="ADAL" clId="{DD93C774-82BE-4DBD-AB5E-BA44CCD0E829}" dt="2023-08-31T09:40:22.199" v="32825"/>
          <ac:graphicFrameMkLst>
            <pc:docMk/>
            <pc:sldMk cId="1876687592" sldId="312"/>
            <ac:graphicFrameMk id="90" creationId="{F8B88921-1D29-0D89-5841-A283E0013A9B}"/>
          </ac:graphicFrameMkLst>
        </pc:graphicFrameChg>
        <pc:graphicFrameChg chg="add del mod replST">
          <ac:chgData name="Lim, Sharon" userId="9ed40bdc-079d-4cee-a990-4411351f7f9c" providerId="ADAL" clId="{DD93C774-82BE-4DBD-AB5E-BA44CCD0E829}" dt="2023-08-31T09:40:29.276" v="32963"/>
          <ac:graphicFrameMkLst>
            <pc:docMk/>
            <pc:sldMk cId="1876687592" sldId="312"/>
            <ac:graphicFrameMk id="92" creationId="{ED24BB44-EDA6-5668-8007-DA40BC35201F}"/>
          </ac:graphicFrameMkLst>
        </pc:graphicFrameChg>
        <pc:graphicFrameChg chg="add del mod replST">
          <ac:chgData name="Lim, Sharon" userId="9ed40bdc-079d-4cee-a990-4411351f7f9c" providerId="ADAL" clId="{DD93C774-82BE-4DBD-AB5E-BA44CCD0E829}" dt="2023-08-31T09:40:47.995" v="33313"/>
          <ac:graphicFrameMkLst>
            <pc:docMk/>
            <pc:sldMk cId="1876687592" sldId="312"/>
            <ac:graphicFrameMk id="94" creationId="{D5500585-7272-9892-5D50-202C88BBCA41}"/>
          </ac:graphicFrameMkLst>
        </pc:graphicFrameChg>
        <pc:graphicFrameChg chg="add del mod replST">
          <ac:chgData name="Lim, Sharon" userId="9ed40bdc-079d-4cee-a990-4411351f7f9c" providerId="ADAL" clId="{DD93C774-82BE-4DBD-AB5E-BA44CCD0E829}" dt="2023-08-31T09:41:12.522" v="33922"/>
          <ac:graphicFrameMkLst>
            <pc:docMk/>
            <pc:sldMk cId="1876687592" sldId="312"/>
            <ac:graphicFrameMk id="96" creationId="{1199D6AE-DAC6-488F-D530-3F6EACDBC652}"/>
          </ac:graphicFrameMkLst>
        </pc:graphicFrameChg>
        <pc:graphicFrameChg chg="add del mod replST">
          <ac:chgData name="Lim, Sharon" userId="9ed40bdc-079d-4cee-a990-4411351f7f9c" providerId="ADAL" clId="{DD93C774-82BE-4DBD-AB5E-BA44CCD0E829}" dt="2023-08-31T09:41:44.066" v="34045"/>
          <ac:graphicFrameMkLst>
            <pc:docMk/>
            <pc:sldMk cId="1876687592" sldId="312"/>
            <ac:graphicFrameMk id="108" creationId="{EB2900E3-CC0C-2EBB-B2B6-32B587EEE9F9}"/>
          </ac:graphicFrameMkLst>
        </pc:graphicFrameChg>
        <pc:graphicFrameChg chg="add del mod replST">
          <ac:chgData name="Lim, Sharon" userId="9ed40bdc-079d-4cee-a990-4411351f7f9c" providerId="ADAL" clId="{DD93C774-82BE-4DBD-AB5E-BA44CCD0E829}" dt="2023-08-31T09:43:11.669" v="34269"/>
          <ac:graphicFrameMkLst>
            <pc:docMk/>
            <pc:sldMk cId="1876687592" sldId="312"/>
            <ac:graphicFrameMk id="110" creationId="{D32544E7-FE29-7AA7-388D-B4FD9DD5A8A5}"/>
          </ac:graphicFrameMkLst>
        </pc:graphicFrameChg>
        <pc:graphicFrameChg chg="add del mod replST">
          <ac:chgData name="Lim, Sharon" userId="9ed40bdc-079d-4cee-a990-4411351f7f9c" providerId="ADAL" clId="{DD93C774-82BE-4DBD-AB5E-BA44CCD0E829}" dt="2023-08-31T09:43:17.774" v="34409"/>
          <ac:graphicFrameMkLst>
            <pc:docMk/>
            <pc:sldMk cId="1876687592" sldId="312"/>
            <ac:graphicFrameMk id="112" creationId="{144D2564-D589-ADC9-A927-A3239D0F9E62}"/>
          </ac:graphicFrameMkLst>
        </pc:graphicFrameChg>
        <pc:graphicFrameChg chg="add del mod replST">
          <ac:chgData name="Lim, Sharon" userId="9ed40bdc-079d-4cee-a990-4411351f7f9c" providerId="ADAL" clId="{DD93C774-82BE-4DBD-AB5E-BA44CCD0E829}" dt="2023-08-31T09:43:56.977" v="37195"/>
          <ac:graphicFrameMkLst>
            <pc:docMk/>
            <pc:sldMk cId="1876687592" sldId="312"/>
            <ac:graphicFrameMk id="114" creationId="{E9A40654-4CE6-5CF5-9EB5-0D87D85A526B}"/>
          </ac:graphicFrameMkLst>
        </pc:graphicFrameChg>
        <pc:graphicFrameChg chg="add del mod replST delST">
          <ac:chgData name="Lim, Sharon" userId="9ed40bdc-079d-4cee-a990-4411351f7f9c" providerId="ADAL" clId="{DD93C774-82BE-4DBD-AB5E-BA44CCD0E829}" dt="2023-08-31T09:43:52.895" v="36652"/>
          <ac:graphicFrameMkLst>
            <pc:docMk/>
            <pc:sldMk cId="1876687592" sldId="312"/>
            <ac:graphicFrameMk id="124" creationId="{EFE9B8B4-A9B3-0660-E7B9-EA0E96046734}"/>
          </ac:graphicFrameMkLst>
        </pc:graphicFrameChg>
        <pc:graphicFrameChg chg="add del mod replST delST">
          <ac:chgData name="Lim, Sharon" userId="9ed40bdc-079d-4cee-a990-4411351f7f9c" providerId="ADAL" clId="{DD93C774-82BE-4DBD-AB5E-BA44CCD0E829}" dt="2023-08-31T09:43:51.225" v="36028"/>
          <ac:graphicFrameMkLst>
            <pc:docMk/>
            <pc:sldMk cId="1876687592" sldId="312"/>
            <ac:graphicFrameMk id="126" creationId="{18C0E0C0-2943-562B-4F85-40377532B1F9}"/>
          </ac:graphicFrameMkLst>
        </pc:graphicFrameChg>
        <pc:graphicFrameChg chg="add del mod replST delST">
          <ac:chgData name="Lim, Sharon" userId="9ed40bdc-079d-4cee-a990-4411351f7f9c" providerId="ADAL" clId="{DD93C774-82BE-4DBD-AB5E-BA44CCD0E829}" dt="2023-08-31T09:43:49.505" v="35722"/>
          <ac:graphicFrameMkLst>
            <pc:docMk/>
            <pc:sldMk cId="1876687592" sldId="312"/>
            <ac:graphicFrameMk id="128" creationId="{0DFE3461-B8DD-74E4-09F3-EB511C2F3F88}"/>
          </ac:graphicFrameMkLst>
        </pc:graphicFrameChg>
        <pc:graphicFrameChg chg="add mod replST delST">
          <ac:chgData name="Lim, Sharon" userId="9ed40bdc-079d-4cee-a990-4411351f7f9c" providerId="ADAL" clId="{DD93C774-82BE-4DBD-AB5E-BA44CCD0E829}" dt="2023-08-31T09:43:47.793" v="35416"/>
          <ac:graphicFrameMkLst>
            <pc:docMk/>
            <pc:sldMk cId="1876687592" sldId="312"/>
            <ac:graphicFrameMk id="130" creationId="{B5CD7CAD-DE51-7EAF-A290-753C85392543}"/>
          </ac:graphicFrameMkLst>
        </pc:graphicFrameChg>
        <pc:graphicFrameChg chg="add mod replST delST">
          <ac:chgData name="Lim, Sharon" userId="9ed40bdc-079d-4cee-a990-4411351f7f9c" providerId="ADAL" clId="{DD93C774-82BE-4DBD-AB5E-BA44CCD0E829}" dt="2023-08-31T09:43:49.505" v="35722"/>
          <ac:graphicFrameMkLst>
            <pc:docMk/>
            <pc:sldMk cId="1876687592" sldId="312"/>
            <ac:graphicFrameMk id="132" creationId="{53A148A7-4CA4-094A-EB51-1C4006DA8121}"/>
          </ac:graphicFrameMkLst>
        </pc:graphicFrameChg>
        <pc:graphicFrameChg chg="add mod replST delST">
          <ac:chgData name="Lim, Sharon" userId="9ed40bdc-079d-4cee-a990-4411351f7f9c" providerId="ADAL" clId="{DD93C774-82BE-4DBD-AB5E-BA44CCD0E829}" dt="2023-08-31T09:43:51.225" v="36028"/>
          <ac:graphicFrameMkLst>
            <pc:docMk/>
            <pc:sldMk cId="1876687592" sldId="312"/>
            <ac:graphicFrameMk id="134" creationId="{841D0E76-7E12-0C59-BE12-D962FCE6E938}"/>
          </ac:graphicFrameMkLst>
        </pc:graphicFrameChg>
        <pc:graphicFrameChg chg="add mod replST delST">
          <ac:chgData name="Lim, Sharon" userId="9ed40bdc-079d-4cee-a990-4411351f7f9c" providerId="ADAL" clId="{DD93C774-82BE-4DBD-AB5E-BA44CCD0E829}" dt="2023-08-31T09:43:52.895" v="36652"/>
          <ac:graphicFrameMkLst>
            <pc:docMk/>
            <pc:sldMk cId="1876687592" sldId="312"/>
            <ac:graphicFrameMk id="136" creationId="{9E802DD2-8A3B-F39D-D177-63AEDF7B0522}"/>
          </ac:graphicFrameMkLst>
        </pc:graphicFrameChg>
        <pc:graphicFrameChg chg="add del mod replST">
          <ac:chgData name="Lim, Sharon" userId="9ed40bdc-079d-4cee-a990-4411351f7f9c" providerId="ADAL" clId="{DD93C774-82BE-4DBD-AB5E-BA44CCD0E829}" dt="2023-08-31T09:43:58.511" v="37307"/>
          <ac:graphicFrameMkLst>
            <pc:docMk/>
            <pc:sldMk cId="1876687592" sldId="312"/>
            <ac:graphicFrameMk id="146" creationId="{5091462B-F064-7D3A-1AAD-CBA52B935F11}"/>
          </ac:graphicFrameMkLst>
        </pc:graphicFrameChg>
        <pc:graphicFrameChg chg="add del mod replST">
          <ac:chgData name="Lim, Sharon" userId="9ed40bdc-079d-4cee-a990-4411351f7f9c" providerId="ADAL" clId="{DD93C774-82BE-4DBD-AB5E-BA44CCD0E829}" dt="2023-08-31T09:44:00.153" v="37405"/>
          <ac:graphicFrameMkLst>
            <pc:docMk/>
            <pc:sldMk cId="1876687592" sldId="312"/>
            <ac:graphicFrameMk id="148" creationId="{644DE1C1-6715-44CE-D1F4-F4D958103076}"/>
          </ac:graphicFrameMkLst>
        </pc:graphicFrameChg>
        <pc:graphicFrameChg chg="add del mod replST">
          <ac:chgData name="Lim, Sharon" userId="9ed40bdc-079d-4cee-a990-4411351f7f9c" providerId="ADAL" clId="{DD93C774-82BE-4DBD-AB5E-BA44CCD0E829}" dt="2023-08-31T09:44:01.703" v="37501"/>
          <ac:graphicFrameMkLst>
            <pc:docMk/>
            <pc:sldMk cId="1876687592" sldId="312"/>
            <ac:graphicFrameMk id="150" creationId="{DB050C93-8393-2E29-12B1-AB9E08C9F212}"/>
          </ac:graphicFrameMkLst>
        </pc:graphicFrameChg>
        <pc:graphicFrameChg chg="add del mod replST">
          <ac:chgData name="Lim, Sharon" userId="9ed40bdc-079d-4cee-a990-4411351f7f9c" providerId="ADAL" clId="{DD93C774-82BE-4DBD-AB5E-BA44CCD0E829}" dt="2023-08-31T09:44:12.379" v="37683"/>
          <ac:graphicFrameMkLst>
            <pc:docMk/>
            <pc:sldMk cId="1876687592" sldId="312"/>
            <ac:graphicFrameMk id="152" creationId="{B4983BFF-9CD5-5DF0-4F29-2050B34AB515}"/>
          </ac:graphicFrameMkLst>
        </pc:graphicFrameChg>
        <pc:graphicFrameChg chg="add del mod replST">
          <ac:chgData name="Lim, Sharon" userId="9ed40bdc-079d-4cee-a990-4411351f7f9c" providerId="ADAL" clId="{DD93C774-82BE-4DBD-AB5E-BA44CCD0E829}" dt="2023-08-31T09:44:20.148" v="37794"/>
          <ac:graphicFrameMkLst>
            <pc:docMk/>
            <pc:sldMk cId="1876687592" sldId="312"/>
            <ac:graphicFrameMk id="156" creationId="{24DB65B9-B816-F1F6-87DE-0ACA7F57AEA8}"/>
          </ac:graphicFrameMkLst>
        </pc:graphicFrameChg>
        <pc:graphicFrameChg chg="add del mod replST">
          <ac:chgData name="Lim, Sharon" userId="9ed40bdc-079d-4cee-a990-4411351f7f9c" providerId="ADAL" clId="{DD93C774-82BE-4DBD-AB5E-BA44CCD0E829}" dt="2023-08-31T09:44:20.326" v="37896"/>
          <ac:graphicFrameMkLst>
            <pc:docMk/>
            <pc:sldMk cId="1876687592" sldId="312"/>
            <ac:graphicFrameMk id="158" creationId="{1AB20FA4-0712-0F01-471F-DC1F9DE8F75B}"/>
          </ac:graphicFrameMkLst>
        </pc:graphicFrameChg>
        <pc:graphicFrameChg chg="add del mod replST">
          <ac:chgData name="Lim, Sharon" userId="9ed40bdc-079d-4cee-a990-4411351f7f9c" providerId="ADAL" clId="{DD93C774-82BE-4DBD-AB5E-BA44CCD0E829}" dt="2023-08-31T09:44:21.721" v="37990"/>
          <ac:graphicFrameMkLst>
            <pc:docMk/>
            <pc:sldMk cId="1876687592" sldId="312"/>
            <ac:graphicFrameMk id="160" creationId="{B9FEEFB5-FE7C-2B46-A9E2-84173D6DE832}"/>
          </ac:graphicFrameMkLst>
        </pc:graphicFrameChg>
        <pc:graphicFrameChg chg="add del mod replST">
          <ac:chgData name="Lim, Sharon" userId="9ed40bdc-079d-4cee-a990-4411351f7f9c" providerId="ADAL" clId="{DD93C774-82BE-4DBD-AB5E-BA44CCD0E829}" dt="2023-08-31T09:44:26.026" v="38084"/>
          <ac:graphicFrameMkLst>
            <pc:docMk/>
            <pc:sldMk cId="1876687592" sldId="312"/>
            <ac:graphicFrameMk id="162" creationId="{566CC1D1-F062-14D8-B709-4F927B46BC39}"/>
          </ac:graphicFrameMkLst>
        </pc:graphicFrameChg>
        <pc:graphicFrameChg chg="add del mod replST">
          <ac:chgData name="Lim, Sharon" userId="9ed40bdc-079d-4cee-a990-4411351f7f9c" providerId="ADAL" clId="{DD93C774-82BE-4DBD-AB5E-BA44CCD0E829}" dt="2023-08-31T09:44:27.507" v="38178"/>
          <ac:graphicFrameMkLst>
            <pc:docMk/>
            <pc:sldMk cId="1876687592" sldId="312"/>
            <ac:graphicFrameMk id="164" creationId="{DF6FD5D4-239F-953E-75FE-B9497073A93F}"/>
          </ac:graphicFrameMkLst>
        </pc:graphicFrameChg>
        <pc:graphicFrameChg chg="add del mod replST">
          <ac:chgData name="Lim, Sharon" userId="9ed40bdc-079d-4cee-a990-4411351f7f9c" providerId="ADAL" clId="{DD93C774-82BE-4DBD-AB5E-BA44CCD0E829}" dt="2023-08-31T09:44:32.485" v="38360"/>
          <ac:graphicFrameMkLst>
            <pc:docMk/>
            <pc:sldMk cId="1876687592" sldId="312"/>
            <ac:graphicFrameMk id="166" creationId="{1F35EDA4-60FC-820A-A3F6-FBBD950CCE3C}"/>
          </ac:graphicFrameMkLst>
        </pc:graphicFrameChg>
        <pc:graphicFrameChg chg="add del mod replST">
          <ac:chgData name="Lim, Sharon" userId="9ed40bdc-079d-4cee-a990-4411351f7f9c" providerId="ADAL" clId="{DD93C774-82BE-4DBD-AB5E-BA44CCD0E829}" dt="2023-08-31T09:44:35.218" v="38471"/>
          <ac:graphicFrameMkLst>
            <pc:docMk/>
            <pc:sldMk cId="1876687592" sldId="312"/>
            <ac:graphicFrameMk id="170" creationId="{1174D2DA-6BC3-B839-4333-983A419DD2F6}"/>
          </ac:graphicFrameMkLst>
        </pc:graphicFrameChg>
        <pc:graphicFrameChg chg="add del mod replST">
          <ac:chgData name="Lim, Sharon" userId="9ed40bdc-079d-4cee-a990-4411351f7f9c" providerId="ADAL" clId="{DD93C774-82BE-4DBD-AB5E-BA44CCD0E829}" dt="2023-08-31T09:44:36.471" v="38570"/>
          <ac:graphicFrameMkLst>
            <pc:docMk/>
            <pc:sldMk cId="1876687592" sldId="312"/>
            <ac:graphicFrameMk id="172" creationId="{6BCD6ECC-CFCB-11A7-E96F-A181104E4CDD}"/>
          </ac:graphicFrameMkLst>
        </pc:graphicFrameChg>
        <pc:graphicFrameChg chg="add del mod replST">
          <ac:chgData name="Lim, Sharon" userId="9ed40bdc-079d-4cee-a990-4411351f7f9c" providerId="ADAL" clId="{DD93C774-82BE-4DBD-AB5E-BA44CCD0E829}" dt="2023-08-31T09:44:37.515" v="38672"/>
          <ac:graphicFrameMkLst>
            <pc:docMk/>
            <pc:sldMk cId="1876687592" sldId="312"/>
            <ac:graphicFrameMk id="174" creationId="{E0490C4A-BF61-924B-DB28-EB8A213C2106}"/>
          </ac:graphicFrameMkLst>
        </pc:graphicFrameChg>
        <pc:graphicFrameChg chg="add del mod replST">
          <ac:chgData name="Lim, Sharon" userId="9ed40bdc-079d-4cee-a990-4411351f7f9c" providerId="ADAL" clId="{DD93C774-82BE-4DBD-AB5E-BA44CCD0E829}" dt="2023-08-31T09:44:38.663" v="38766"/>
          <ac:graphicFrameMkLst>
            <pc:docMk/>
            <pc:sldMk cId="1876687592" sldId="312"/>
            <ac:graphicFrameMk id="176" creationId="{483124A5-2692-08C3-D56B-A85D8568008D}"/>
          </ac:graphicFrameMkLst>
        </pc:graphicFrameChg>
        <pc:graphicFrameChg chg="add del mod replST">
          <ac:chgData name="Lim, Sharon" userId="9ed40bdc-079d-4cee-a990-4411351f7f9c" providerId="ADAL" clId="{DD93C774-82BE-4DBD-AB5E-BA44CCD0E829}" dt="2023-08-31T09:44:41.951" v="38978"/>
          <ac:graphicFrameMkLst>
            <pc:docMk/>
            <pc:sldMk cId="1876687592" sldId="312"/>
            <ac:graphicFrameMk id="178" creationId="{87BCC778-ADC1-1822-CE90-43157F5EE3E4}"/>
          </ac:graphicFrameMkLst>
        </pc:graphicFrameChg>
        <pc:graphicFrameChg chg="add del mod replST">
          <ac:chgData name="Lim, Sharon" userId="9ed40bdc-079d-4cee-a990-4411351f7f9c" providerId="ADAL" clId="{DD93C774-82BE-4DBD-AB5E-BA44CCD0E829}" dt="2023-08-31T09:44:43.888" v="39095"/>
          <ac:graphicFrameMkLst>
            <pc:docMk/>
            <pc:sldMk cId="1876687592" sldId="312"/>
            <ac:graphicFrameMk id="184" creationId="{46F40E93-3819-A2B6-85D4-4F124851BA2F}"/>
          </ac:graphicFrameMkLst>
        </pc:graphicFrameChg>
        <pc:graphicFrameChg chg="add del mod replST">
          <ac:chgData name="Lim, Sharon" userId="9ed40bdc-079d-4cee-a990-4411351f7f9c" providerId="ADAL" clId="{DD93C774-82BE-4DBD-AB5E-BA44CCD0E829}" dt="2023-08-31T09:44:44.953" v="39199"/>
          <ac:graphicFrameMkLst>
            <pc:docMk/>
            <pc:sldMk cId="1876687592" sldId="312"/>
            <ac:graphicFrameMk id="186" creationId="{921D76D8-4CCA-F8CF-4E0C-B3541AF07DA9}"/>
          </ac:graphicFrameMkLst>
        </pc:graphicFrameChg>
        <pc:graphicFrameChg chg="add del mod replST">
          <ac:chgData name="Lim, Sharon" userId="9ed40bdc-079d-4cee-a990-4411351f7f9c" providerId="ADAL" clId="{DD93C774-82BE-4DBD-AB5E-BA44CCD0E829}" dt="2023-08-31T09:44:45.915" v="39297"/>
          <ac:graphicFrameMkLst>
            <pc:docMk/>
            <pc:sldMk cId="1876687592" sldId="312"/>
            <ac:graphicFrameMk id="188" creationId="{961033C0-F815-6375-8D40-1E89CF8D8297}"/>
          </ac:graphicFrameMkLst>
        </pc:graphicFrameChg>
        <pc:graphicFrameChg chg="add del mod replST">
          <ac:chgData name="Lim, Sharon" userId="9ed40bdc-079d-4cee-a990-4411351f7f9c" providerId="ADAL" clId="{DD93C774-82BE-4DBD-AB5E-BA44CCD0E829}" dt="2023-08-31T09:44:49.829" v="39391"/>
          <ac:graphicFrameMkLst>
            <pc:docMk/>
            <pc:sldMk cId="1876687592" sldId="312"/>
            <ac:graphicFrameMk id="190" creationId="{AAFE8C4F-74CC-7B86-B8B8-32F3EE9DCB0A}"/>
          </ac:graphicFrameMkLst>
        </pc:graphicFrameChg>
        <pc:graphicFrameChg chg="add del mod replST">
          <ac:chgData name="Lim, Sharon" userId="9ed40bdc-079d-4cee-a990-4411351f7f9c" providerId="ADAL" clId="{DD93C774-82BE-4DBD-AB5E-BA44CCD0E829}" dt="2023-08-31T09:44:52.163" v="39588"/>
          <ac:graphicFrameMkLst>
            <pc:docMk/>
            <pc:sldMk cId="1876687592" sldId="312"/>
            <ac:graphicFrameMk id="192" creationId="{5A3C81A6-EFD6-586D-71E8-0FCCD352F02C}"/>
          </ac:graphicFrameMkLst>
        </pc:graphicFrameChg>
        <pc:graphicFrameChg chg="add del mod replST">
          <ac:chgData name="Lim, Sharon" userId="9ed40bdc-079d-4cee-a990-4411351f7f9c" providerId="ADAL" clId="{DD93C774-82BE-4DBD-AB5E-BA44CCD0E829}" dt="2023-08-31T09:44:54.484" v="39701"/>
          <ac:graphicFrameMkLst>
            <pc:docMk/>
            <pc:sldMk cId="1876687592" sldId="312"/>
            <ac:graphicFrameMk id="197" creationId="{06D9805A-324E-AE3D-BE69-12B5565D37D0}"/>
          </ac:graphicFrameMkLst>
        </pc:graphicFrameChg>
        <pc:graphicFrameChg chg="add del mod replST">
          <ac:chgData name="Lim, Sharon" userId="9ed40bdc-079d-4cee-a990-4411351f7f9c" providerId="ADAL" clId="{DD93C774-82BE-4DBD-AB5E-BA44CCD0E829}" dt="2023-08-31T09:44:55.751" v="39802"/>
          <ac:graphicFrameMkLst>
            <pc:docMk/>
            <pc:sldMk cId="1876687592" sldId="312"/>
            <ac:graphicFrameMk id="199" creationId="{5DC15EF2-60F5-A1AC-4861-304AB462079F}"/>
          </ac:graphicFrameMkLst>
        </pc:graphicFrameChg>
        <pc:graphicFrameChg chg="add del mod replST">
          <ac:chgData name="Lim, Sharon" userId="9ed40bdc-079d-4cee-a990-4411351f7f9c" providerId="ADAL" clId="{DD93C774-82BE-4DBD-AB5E-BA44CCD0E829}" dt="2023-08-31T09:44:57.370" v="39903"/>
          <ac:graphicFrameMkLst>
            <pc:docMk/>
            <pc:sldMk cId="1876687592" sldId="312"/>
            <ac:graphicFrameMk id="201" creationId="{4A1EA455-29DE-7279-41FF-6DB6EBAB04D3}"/>
          </ac:graphicFrameMkLst>
        </pc:graphicFrameChg>
        <pc:graphicFrameChg chg="add del mod replST">
          <ac:chgData name="Lim, Sharon" userId="9ed40bdc-079d-4cee-a990-4411351f7f9c" providerId="ADAL" clId="{DD93C774-82BE-4DBD-AB5E-BA44CCD0E829}" dt="2023-08-31T09:44:58.804" v="40007"/>
          <ac:graphicFrameMkLst>
            <pc:docMk/>
            <pc:sldMk cId="1876687592" sldId="312"/>
            <ac:graphicFrameMk id="203" creationId="{44523104-9604-C652-C06B-7AA480CD6162}"/>
          </ac:graphicFrameMkLst>
        </pc:graphicFrameChg>
        <pc:graphicFrameChg chg="add del mod replST">
          <ac:chgData name="Lim, Sharon" userId="9ed40bdc-079d-4cee-a990-4411351f7f9c" providerId="ADAL" clId="{DD93C774-82BE-4DBD-AB5E-BA44CCD0E829}" dt="2023-08-31T09:45:22.671" v="40182"/>
          <ac:graphicFrameMkLst>
            <pc:docMk/>
            <pc:sldMk cId="1876687592" sldId="312"/>
            <ac:graphicFrameMk id="205" creationId="{70AB4CD2-2873-C5C7-5BEF-D4BFC5BE2CEA}"/>
          </ac:graphicFrameMkLst>
        </pc:graphicFrameChg>
        <pc:graphicFrameChg chg="add del mod replST">
          <ac:chgData name="Lim, Sharon" userId="9ed40bdc-079d-4cee-a990-4411351f7f9c" providerId="ADAL" clId="{DD93C774-82BE-4DBD-AB5E-BA44CCD0E829}" dt="2023-08-31T09:45:39.866" v="40422"/>
          <ac:graphicFrameMkLst>
            <pc:docMk/>
            <pc:sldMk cId="1876687592" sldId="312"/>
            <ac:graphicFrameMk id="208" creationId="{0E556B41-2BE3-8F04-9B4A-81BAAC8BBFC9}"/>
          </ac:graphicFrameMkLst>
        </pc:graphicFrameChg>
        <pc:graphicFrameChg chg="add del mod replST">
          <ac:chgData name="Lim, Sharon" userId="9ed40bdc-079d-4cee-a990-4411351f7f9c" providerId="ADAL" clId="{DD93C774-82BE-4DBD-AB5E-BA44CCD0E829}" dt="2023-09-01T03:25:51.571" v="66619"/>
          <ac:graphicFrameMkLst>
            <pc:docMk/>
            <pc:sldMk cId="1876687592" sldId="312"/>
            <ac:graphicFrameMk id="210" creationId="{FAFC2DC4-A678-F780-5D44-90F1A7C11B0E}"/>
          </ac:graphicFrameMkLst>
        </pc:graphicFrameChg>
        <pc:graphicFrameChg chg="add mod replST">
          <ac:chgData name="Lim, Sharon" userId="9ed40bdc-079d-4cee-a990-4411351f7f9c" providerId="ADAL" clId="{DD93C774-82BE-4DBD-AB5E-BA44CCD0E829}" dt="2023-09-01T03:25:51.708" v="66648"/>
          <ac:graphicFrameMkLst>
            <pc:docMk/>
            <pc:sldMk cId="1876687592" sldId="312"/>
            <ac:graphicFrameMk id="215" creationId="{116C5CC0-3A94-19CE-0406-6C9676DDA4BD}"/>
          </ac:graphicFrameMkLst>
        </pc:graphicFrameChg>
        <pc:picChg chg="add mod ord">
          <ac:chgData name="Lim, Sharon" userId="9ed40bdc-079d-4cee-a990-4411351f7f9c" providerId="ADAL" clId="{DD93C774-82BE-4DBD-AB5E-BA44CCD0E829}" dt="2023-09-01T03:26:01.327" v="66808" actId="1076"/>
          <ac:picMkLst>
            <pc:docMk/>
            <pc:sldMk cId="1876687592" sldId="312"/>
            <ac:picMk id="211" creationId="{E860E316-859A-D609-66CD-B9C9D1AEEA66}"/>
          </ac:picMkLst>
        </pc:picChg>
        <pc:cxnChg chg="add del mod ord replST">
          <ac:chgData name="Lim, Sharon" userId="9ed40bdc-079d-4cee-a990-4411351f7f9c" providerId="ADAL" clId="{DD93C774-82BE-4DBD-AB5E-BA44CCD0E829}" dt="2023-08-31T09:35:58.203" v="29328"/>
          <ac:cxnSpMkLst>
            <pc:docMk/>
            <pc:sldMk cId="1876687592" sldId="312"/>
            <ac:cxnSpMk id="9" creationId="{2892E5F1-63D8-58EC-5874-857CE2BC2CEB}"/>
          </ac:cxnSpMkLst>
        </pc:cxnChg>
        <pc:cxnChg chg="add del mod ord replST">
          <ac:chgData name="Lim, Sharon" userId="9ed40bdc-079d-4cee-a990-4411351f7f9c" providerId="ADAL" clId="{DD93C774-82BE-4DBD-AB5E-BA44CCD0E829}" dt="2023-08-31T09:35:58.201" v="29325"/>
          <ac:cxnSpMkLst>
            <pc:docMk/>
            <pc:sldMk cId="1876687592" sldId="312"/>
            <ac:cxnSpMk id="10" creationId="{D410D65C-75D5-6FA6-3D40-1A47C6C1A40D}"/>
          </ac:cxnSpMkLst>
        </pc:cxnChg>
        <pc:cxnChg chg="add del mod ord replST">
          <ac:chgData name="Lim, Sharon" userId="9ed40bdc-079d-4cee-a990-4411351f7f9c" providerId="ADAL" clId="{DD93C774-82BE-4DBD-AB5E-BA44CCD0E829}" dt="2023-08-31T09:35:58.199" v="29322"/>
          <ac:cxnSpMkLst>
            <pc:docMk/>
            <pc:sldMk cId="1876687592" sldId="312"/>
            <ac:cxnSpMk id="11" creationId="{EAC4C574-116F-5719-B38A-01C1A2F1D69E}"/>
          </ac:cxnSpMkLst>
        </pc:cxnChg>
        <pc:cxnChg chg="add del mod ord replST">
          <ac:chgData name="Lim, Sharon" userId="9ed40bdc-079d-4cee-a990-4411351f7f9c" providerId="ADAL" clId="{DD93C774-82BE-4DBD-AB5E-BA44CCD0E829}" dt="2023-08-31T09:35:58.196" v="29319"/>
          <ac:cxnSpMkLst>
            <pc:docMk/>
            <pc:sldMk cId="1876687592" sldId="312"/>
            <ac:cxnSpMk id="12" creationId="{9CACD705-B07D-2060-1C7C-1DE1BE1BEA2D}"/>
          </ac:cxnSpMkLst>
        </pc:cxnChg>
        <pc:cxnChg chg="add del mod ord replST">
          <ac:chgData name="Lim, Sharon" userId="9ed40bdc-079d-4cee-a990-4411351f7f9c" providerId="ADAL" clId="{DD93C774-82BE-4DBD-AB5E-BA44CCD0E829}" dt="2023-08-31T09:35:58.194" v="29316"/>
          <ac:cxnSpMkLst>
            <pc:docMk/>
            <pc:sldMk cId="1876687592" sldId="312"/>
            <ac:cxnSpMk id="13" creationId="{4FF89162-74A8-9E02-2D96-F5C7808F65EA}"/>
          </ac:cxnSpMkLst>
        </pc:cxnChg>
        <pc:cxnChg chg="add del mod ord replST">
          <ac:chgData name="Lim, Sharon" userId="9ed40bdc-079d-4cee-a990-4411351f7f9c" providerId="ADAL" clId="{DD93C774-82BE-4DBD-AB5E-BA44CCD0E829}" dt="2023-08-31T09:35:58.192" v="29313"/>
          <ac:cxnSpMkLst>
            <pc:docMk/>
            <pc:sldMk cId="1876687592" sldId="312"/>
            <ac:cxnSpMk id="14" creationId="{1302C1CD-5A70-64E5-0CA3-2D2EC740D8B2}"/>
          </ac:cxnSpMkLst>
        </pc:cxnChg>
        <pc:cxnChg chg="add del mod ord replST">
          <ac:chgData name="Lim, Sharon" userId="9ed40bdc-079d-4cee-a990-4411351f7f9c" providerId="ADAL" clId="{DD93C774-82BE-4DBD-AB5E-BA44CCD0E829}" dt="2023-08-31T09:35:58.189" v="29310"/>
          <ac:cxnSpMkLst>
            <pc:docMk/>
            <pc:sldMk cId="1876687592" sldId="312"/>
            <ac:cxnSpMk id="15" creationId="{491E82ED-2598-0870-90C0-508BE2EE2185}"/>
          </ac:cxnSpMkLst>
        </pc:cxnChg>
        <pc:cxnChg chg="add del mod ord replST">
          <ac:chgData name="Lim, Sharon" userId="9ed40bdc-079d-4cee-a990-4411351f7f9c" providerId="ADAL" clId="{DD93C774-82BE-4DBD-AB5E-BA44CCD0E829}" dt="2023-08-31T09:35:58.185" v="29307"/>
          <ac:cxnSpMkLst>
            <pc:docMk/>
            <pc:sldMk cId="1876687592" sldId="312"/>
            <ac:cxnSpMk id="16" creationId="{CA421F92-C87D-C8D7-4944-4CE7FB3BA4DF}"/>
          </ac:cxnSpMkLst>
        </pc:cxnChg>
        <pc:cxnChg chg="add del mod ord replST">
          <ac:chgData name="Lim, Sharon" userId="9ed40bdc-079d-4cee-a990-4411351f7f9c" providerId="ADAL" clId="{DD93C774-82BE-4DBD-AB5E-BA44CCD0E829}" dt="2023-08-31T09:35:58.180" v="29304"/>
          <ac:cxnSpMkLst>
            <pc:docMk/>
            <pc:sldMk cId="1876687592" sldId="312"/>
            <ac:cxnSpMk id="17" creationId="{41968058-B85A-61B9-6E46-9DC47B640C35}"/>
          </ac:cxnSpMkLst>
        </pc:cxnChg>
        <pc:cxnChg chg="add del mod ord replST">
          <ac:chgData name="Lim, Sharon" userId="9ed40bdc-079d-4cee-a990-4411351f7f9c" providerId="ADAL" clId="{DD93C774-82BE-4DBD-AB5E-BA44CCD0E829}" dt="2023-08-31T09:36:52.050" v="30309"/>
          <ac:cxnSpMkLst>
            <pc:docMk/>
            <pc:sldMk cId="1876687592" sldId="312"/>
            <ac:cxnSpMk id="57" creationId="{57AD9453-9344-40DC-2684-2E0FE35F156D}"/>
          </ac:cxnSpMkLst>
        </pc:cxnChg>
        <pc:cxnChg chg="add del mod ord replST">
          <ac:chgData name="Lim, Sharon" userId="9ed40bdc-079d-4cee-a990-4411351f7f9c" providerId="ADAL" clId="{DD93C774-82BE-4DBD-AB5E-BA44CCD0E829}" dt="2023-08-31T09:36:52.066" v="30338"/>
          <ac:cxnSpMkLst>
            <pc:docMk/>
            <pc:sldMk cId="1876687592" sldId="312"/>
            <ac:cxnSpMk id="58" creationId="{9EDBD641-E8A1-BEEC-365C-9C311F937D69}"/>
          </ac:cxnSpMkLst>
        </pc:cxnChg>
        <pc:cxnChg chg="add mod ord replST">
          <ac:chgData name="Lim, Sharon" userId="9ed40bdc-079d-4cee-a990-4411351f7f9c" providerId="ADAL" clId="{DD93C774-82BE-4DBD-AB5E-BA44CCD0E829}" dt="2023-09-01T03:25:55.608" v="66721" actId="16931"/>
          <ac:cxnSpMkLst>
            <pc:docMk/>
            <pc:sldMk cId="1876687592" sldId="312"/>
            <ac:cxnSpMk id="62" creationId="{0E54DF90-44CF-BF83-D7B3-8EFD668423C5}"/>
          </ac:cxnSpMkLst>
        </pc:cxnChg>
        <pc:cxnChg chg="add mod ord replST">
          <ac:chgData name="Lim, Sharon" userId="9ed40bdc-079d-4cee-a990-4411351f7f9c" providerId="ADAL" clId="{DD93C774-82BE-4DBD-AB5E-BA44CCD0E829}" dt="2023-09-01T03:25:55.672" v="66747" actId="16931"/>
          <ac:cxnSpMkLst>
            <pc:docMk/>
            <pc:sldMk cId="1876687592" sldId="312"/>
            <ac:cxnSpMk id="63" creationId="{2A9A0987-69A3-41CE-E762-ECCE8CF9931D}"/>
          </ac:cxnSpMkLst>
        </pc:cxnChg>
        <pc:cxnChg chg="add mod ord replST">
          <ac:chgData name="Lim, Sharon" userId="9ed40bdc-079d-4cee-a990-4411351f7f9c" providerId="ADAL" clId="{DD93C774-82BE-4DBD-AB5E-BA44CCD0E829}" dt="2023-09-01T03:25:55.721" v="66773" actId="16931"/>
          <ac:cxnSpMkLst>
            <pc:docMk/>
            <pc:sldMk cId="1876687592" sldId="312"/>
            <ac:cxnSpMk id="64" creationId="{5CAD834A-2749-DD0F-D221-D85C293C5FF8}"/>
          </ac:cxnSpMkLst>
        </pc:cxnChg>
        <pc:cxnChg chg="add del mod ord replST">
          <ac:chgData name="Lim, Sharon" userId="9ed40bdc-079d-4cee-a990-4411351f7f9c" providerId="ADAL" clId="{DD93C774-82BE-4DBD-AB5E-BA44CCD0E829}" dt="2023-08-31T09:39:34.547" v="32209"/>
          <ac:cxnSpMkLst>
            <pc:docMk/>
            <pc:sldMk cId="1876687592" sldId="312"/>
            <ac:cxnSpMk id="65" creationId="{FF229FE1-6ACF-F321-320B-A68A26EA8B80}"/>
          </ac:cxnSpMkLst>
        </pc:cxnChg>
        <pc:cxnChg chg="add mod ord replST">
          <ac:chgData name="Lim, Sharon" userId="9ed40bdc-079d-4cee-a990-4411351f7f9c" providerId="ADAL" clId="{DD93C774-82BE-4DBD-AB5E-BA44CCD0E829}" dt="2023-09-01T03:25:55.783" v="66799" actId="16931"/>
          <ac:cxnSpMkLst>
            <pc:docMk/>
            <pc:sldMk cId="1876687592" sldId="312"/>
            <ac:cxnSpMk id="66" creationId="{DC3A2664-9616-7687-537E-994598BA2E6E}"/>
          </ac:cxnSpMkLst>
        </pc:cxnChg>
        <pc:cxnChg chg="add del mod ord replST">
          <ac:chgData name="Lim, Sharon" userId="9ed40bdc-079d-4cee-a990-4411351f7f9c" providerId="ADAL" clId="{DD93C774-82BE-4DBD-AB5E-BA44CCD0E829}" dt="2023-08-31T09:44:20.223" v="37844"/>
          <ac:cxnSpMkLst>
            <pc:docMk/>
            <pc:sldMk cId="1876687592" sldId="312"/>
            <ac:cxnSpMk id="155" creationId="{EDE6FF8E-98BD-082B-87BC-1860B6D78977}"/>
          </ac:cxnSpMkLst>
        </pc:cxnChg>
        <pc:cxnChg chg="add del mod ord replST">
          <ac:chgData name="Lim, Sharon" userId="9ed40bdc-079d-4cee-a990-4411351f7f9c" providerId="ADAL" clId="{DD93C774-82BE-4DBD-AB5E-BA44CCD0E829}" dt="2023-08-31T09:44:37.414" v="38620"/>
          <ac:cxnSpMkLst>
            <pc:docMk/>
            <pc:sldMk cId="1876687592" sldId="312"/>
            <ac:cxnSpMk id="169" creationId="{0FD95CF1-D92F-8041-FEE5-B11A134FDC3E}"/>
          </ac:cxnSpMkLst>
        </pc:cxnChg>
        <pc:cxnChg chg="add del mod ord replST">
          <ac:chgData name="Lim, Sharon" userId="9ed40bdc-079d-4cee-a990-4411351f7f9c" providerId="ADAL" clId="{DD93C774-82BE-4DBD-AB5E-BA44CCD0E829}" dt="2023-08-31T09:44:43.717" v="39044"/>
          <ac:cxnSpMkLst>
            <pc:docMk/>
            <pc:sldMk cId="1876687592" sldId="312"/>
            <ac:cxnSpMk id="181" creationId="{EFCF639A-B473-6E8D-34B5-87283604D1DD}"/>
          </ac:cxnSpMkLst>
        </pc:cxnChg>
        <pc:cxnChg chg="add del mod ord replST">
          <ac:chgData name="Lim, Sharon" userId="9ed40bdc-079d-4cee-a990-4411351f7f9c" providerId="ADAL" clId="{DD93C774-82BE-4DBD-AB5E-BA44CCD0E829}" dt="2023-08-31T09:44:44.818" v="39147"/>
          <ac:cxnSpMkLst>
            <pc:docMk/>
            <pc:sldMk cId="1876687592" sldId="312"/>
            <ac:cxnSpMk id="182" creationId="{F0C43CF2-87D8-D740-562C-2BB3A57C4FF2}"/>
          </ac:cxnSpMkLst>
        </pc:cxnChg>
        <pc:cxnChg chg="add del mod ord replST">
          <ac:chgData name="Lim, Sharon" userId="9ed40bdc-079d-4cee-a990-4411351f7f9c" providerId="ADAL" clId="{DD93C774-82BE-4DBD-AB5E-BA44CCD0E829}" dt="2023-08-31T09:44:45.762" v="39247"/>
          <ac:cxnSpMkLst>
            <pc:docMk/>
            <pc:sldMk cId="1876687592" sldId="312"/>
            <ac:cxnSpMk id="183" creationId="{D3787BEE-FDAD-944A-AC94-6E5AF7F62FC9}"/>
          </ac:cxnSpMkLst>
        </pc:cxnChg>
        <pc:cxnChg chg="add del mod ord replST">
          <ac:chgData name="Lim, Sharon" userId="9ed40bdc-079d-4cee-a990-4411351f7f9c" providerId="ADAL" clId="{DD93C774-82BE-4DBD-AB5E-BA44CCD0E829}" dt="2023-08-31T09:44:58.656" v="39955"/>
          <ac:cxnSpMkLst>
            <pc:docMk/>
            <pc:sldMk cId="1876687592" sldId="312"/>
            <ac:cxnSpMk id="195" creationId="{B2C75BD1-4C97-328D-4F1D-2CDB1550FC95}"/>
          </ac:cxnSpMkLst>
        </pc:cxnChg>
        <pc:cxnChg chg="add mod ord replST">
          <ac:chgData name="Lim, Sharon" userId="9ed40bdc-079d-4cee-a990-4411351f7f9c" providerId="ADAL" clId="{DD93C774-82BE-4DBD-AB5E-BA44CCD0E829}" dt="2023-09-01T03:25:51.711" v="66651"/>
          <ac:cxnSpMkLst>
            <pc:docMk/>
            <pc:sldMk cId="1876687592" sldId="312"/>
            <ac:cxnSpMk id="196" creationId="{94C731A5-5C8F-C14C-9735-200D38167901}"/>
          </ac:cxnSpMkLst>
        </pc:cxnChg>
      </pc:sldChg>
      <pc:sldChg chg="addSp delSp modSp add del mod delAnim modAnim">
        <pc:chgData name="Lim, Sharon" userId="9ed40bdc-079d-4cee-a990-4411351f7f9c" providerId="ADAL" clId="{DD93C774-82BE-4DBD-AB5E-BA44CCD0E829}" dt="2023-09-01T03:45:41.478" v="67355" actId="47"/>
        <pc:sldMkLst>
          <pc:docMk/>
          <pc:sldMk cId="3644594189" sldId="313"/>
        </pc:sldMkLst>
        <pc:spChg chg="add del mod ord">
          <ac:chgData name="Lim, Sharon" userId="9ed40bdc-079d-4cee-a990-4411351f7f9c" providerId="ADAL" clId="{DD93C774-82BE-4DBD-AB5E-BA44CCD0E829}" dt="2023-09-01T03:10:17.074" v="66479" actId="478"/>
          <ac:spMkLst>
            <pc:docMk/>
            <pc:sldMk cId="3644594189" sldId="313"/>
            <ac:spMk id="2" creationId="{0A75B4C7-E620-27F2-4C08-D763BE9B9F7A}"/>
          </ac:spMkLst>
        </pc:spChg>
        <pc:spChg chg="add del mod ord">
          <ac:chgData name="Lim, Sharon" userId="9ed40bdc-079d-4cee-a990-4411351f7f9c" providerId="ADAL" clId="{DD93C774-82BE-4DBD-AB5E-BA44CCD0E829}" dt="2023-09-01T03:10:16.264" v="66478" actId="478"/>
          <ac:spMkLst>
            <pc:docMk/>
            <pc:sldMk cId="3644594189" sldId="313"/>
            <ac:spMk id="3" creationId="{4D39D4C2-4EA6-EE8F-5F3C-B3C24C0894BA}"/>
          </ac:spMkLst>
        </pc:spChg>
        <pc:spChg chg="mod ord">
          <ac:chgData name="Lim, Sharon" userId="9ed40bdc-079d-4cee-a990-4411351f7f9c" providerId="ADAL" clId="{DD93C774-82BE-4DBD-AB5E-BA44CCD0E829}" dt="2023-08-31T12:57:25.244" v="63724"/>
          <ac:spMkLst>
            <pc:docMk/>
            <pc:sldMk cId="3644594189" sldId="313"/>
            <ac:spMk id="5" creationId="{9727673B-8413-CCDC-BA64-7D07EAE62EA3}"/>
          </ac:spMkLst>
        </pc:spChg>
        <pc:spChg chg="del mod ord">
          <ac:chgData name="Lim, Sharon" userId="9ed40bdc-079d-4cee-a990-4411351f7f9c" providerId="ADAL" clId="{DD93C774-82BE-4DBD-AB5E-BA44CCD0E829}" dt="2023-09-01T02:11:10.204" v="65940" actId="478"/>
          <ac:spMkLst>
            <pc:docMk/>
            <pc:sldMk cId="3644594189" sldId="313"/>
            <ac:spMk id="6" creationId="{95F89051-279F-98F0-F3A3-E8717CF3EC24}"/>
          </ac:spMkLst>
        </pc:spChg>
        <pc:spChg chg="add mod ord">
          <ac:chgData name="Lim, Sharon" userId="9ed40bdc-079d-4cee-a990-4411351f7f9c" providerId="ADAL" clId="{DD93C774-82BE-4DBD-AB5E-BA44CCD0E829}" dt="2023-08-31T10:23:12.797" v="41827"/>
          <ac:spMkLst>
            <pc:docMk/>
            <pc:sldMk cId="3644594189" sldId="313"/>
            <ac:spMk id="7" creationId="{7D1DB623-6192-2888-9F62-A037949F23BC}"/>
          </ac:spMkLst>
        </pc:spChg>
        <pc:spChg chg="add del mod">
          <ac:chgData name="Lim, Sharon" userId="9ed40bdc-079d-4cee-a990-4411351f7f9c" providerId="ADAL" clId="{DD93C774-82BE-4DBD-AB5E-BA44CCD0E829}" dt="2023-09-01T02:37:23.355" v="66323" actId="478"/>
          <ac:spMkLst>
            <pc:docMk/>
            <pc:sldMk cId="3644594189" sldId="313"/>
            <ac:spMk id="14" creationId="{B71C36C4-8F67-5011-9432-DE555E8E6EE1}"/>
          </ac:spMkLst>
        </pc:spChg>
        <pc:spChg chg="add mod">
          <ac:chgData name="Lim, Sharon" userId="9ed40bdc-079d-4cee-a990-4411351f7f9c" providerId="ADAL" clId="{DD93C774-82BE-4DBD-AB5E-BA44CCD0E829}" dt="2023-09-01T03:09:22.047" v="66447" actId="1076"/>
          <ac:spMkLst>
            <pc:docMk/>
            <pc:sldMk cId="3644594189" sldId="313"/>
            <ac:spMk id="15" creationId="{88775B6C-9C34-4020-DD10-7CF9644BBE20}"/>
          </ac:spMkLst>
        </pc:spChg>
        <pc:spChg chg="add mod">
          <ac:chgData name="Lim, Sharon" userId="9ed40bdc-079d-4cee-a990-4411351f7f9c" providerId="ADAL" clId="{DD93C774-82BE-4DBD-AB5E-BA44CCD0E829}" dt="2023-09-01T02:41:41.992" v="66361"/>
          <ac:spMkLst>
            <pc:docMk/>
            <pc:sldMk cId="3644594189" sldId="313"/>
            <ac:spMk id="16" creationId="{2279DEA7-772F-6D5E-53AA-62DBCBADC2B7}"/>
          </ac:spMkLst>
        </pc:spChg>
        <pc:spChg chg="add mod">
          <ac:chgData name="Lim, Sharon" userId="9ed40bdc-079d-4cee-a990-4411351f7f9c" providerId="ADAL" clId="{DD93C774-82BE-4DBD-AB5E-BA44CCD0E829}" dt="2023-09-01T03:09:46.627" v="66459" actId="1076"/>
          <ac:spMkLst>
            <pc:docMk/>
            <pc:sldMk cId="3644594189" sldId="313"/>
            <ac:spMk id="17" creationId="{0CCC1283-9147-C15A-5E25-0AA84F46754E}"/>
          </ac:spMkLst>
        </pc:spChg>
        <pc:spChg chg="add mod">
          <ac:chgData name="Lim, Sharon" userId="9ed40bdc-079d-4cee-a990-4411351f7f9c" providerId="ADAL" clId="{DD93C774-82BE-4DBD-AB5E-BA44CCD0E829}" dt="2023-09-01T03:09:59.821" v="66467" actId="20577"/>
          <ac:spMkLst>
            <pc:docMk/>
            <pc:sldMk cId="3644594189" sldId="313"/>
            <ac:spMk id="18" creationId="{B64B9ACF-B563-B438-673B-92A8639FA6EC}"/>
          </ac:spMkLst>
        </pc:spChg>
        <pc:spChg chg="add mod">
          <ac:chgData name="Lim, Sharon" userId="9ed40bdc-079d-4cee-a990-4411351f7f9c" providerId="ADAL" clId="{DD93C774-82BE-4DBD-AB5E-BA44CCD0E829}" dt="2023-09-01T03:10:13.362" v="66477" actId="20577"/>
          <ac:spMkLst>
            <pc:docMk/>
            <pc:sldMk cId="3644594189" sldId="313"/>
            <ac:spMk id="19" creationId="{400B6A2A-6D5B-8FD4-9EA3-2466DED78F2C}"/>
          </ac:spMkLst>
        </pc:spChg>
        <pc:graphicFrameChg chg="mod">
          <ac:chgData name="Lim, Sharon" userId="9ed40bdc-079d-4cee-a990-4411351f7f9c" providerId="ADAL" clId="{DD93C774-82BE-4DBD-AB5E-BA44CCD0E829}" dt="2023-08-31T10:23:12.807" v="41841"/>
          <ac:graphicFrameMkLst>
            <pc:docMk/>
            <pc:sldMk cId="3644594189" sldId="313"/>
            <ac:graphicFrameMk id="4" creationId="{DF641BDA-2511-C092-BA40-27C321E82FFD}"/>
          </ac:graphicFrameMkLst>
        </pc:graphicFrameChg>
        <pc:picChg chg="add mod ord modCrop">
          <ac:chgData name="Lim, Sharon" userId="9ed40bdc-079d-4cee-a990-4411351f7f9c" providerId="ADAL" clId="{DD93C774-82BE-4DBD-AB5E-BA44CCD0E829}" dt="2023-09-01T03:09:13.167" v="66446" actId="1076"/>
          <ac:picMkLst>
            <pc:docMk/>
            <pc:sldMk cId="3644594189" sldId="313"/>
            <ac:picMk id="8" creationId="{8DADEC5A-685C-2563-F0B3-1EE0C9543B05}"/>
          </ac:picMkLst>
        </pc:picChg>
        <pc:picChg chg="add del mod modCrop">
          <ac:chgData name="Lim, Sharon" userId="9ed40bdc-079d-4cee-a990-4411351f7f9c" providerId="ADAL" clId="{DD93C774-82BE-4DBD-AB5E-BA44CCD0E829}" dt="2023-08-31T10:15:28.874" v="41636" actId="21"/>
          <ac:picMkLst>
            <pc:docMk/>
            <pc:sldMk cId="3644594189" sldId="313"/>
            <ac:picMk id="9" creationId="{D36DB325-43C4-E1B6-561B-C974ED8E53CD}"/>
          </ac:picMkLst>
        </pc:picChg>
        <pc:picChg chg="add del mod ord modCrop">
          <ac:chgData name="Lim, Sharon" userId="9ed40bdc-079d-4cee-a990-4411351f7f9c" providerId="ADAL" clId="{DD93C774-82BE-4DBD-AB5E-BA44CCD0E829}" dt="2023-09-01T03:08:42.842" v="66440" actId="478"/>
          <ac:picMkLst>
            <pc:docMk/>
            <pc:sldMk cId="3644594189" sldId="313"/>
            <ac:picMk id="10" creationId="{87056EA1-2A44-EBBF-50BA-D87145AEDE3F}"/>
          </ac:picMkLst>
        </pc:picChg>
        <pc:picChg chg="add mod ord modCrop">
          <ac:chgData name="Lim, Sharon" userId="9ed40bdc-079d-4cee-a990-4411351f7f9c" providerId="ADAL" clId="{DD93C774-82BE-4DBD-AB5E-BA44CCD0E829}" dt="2023-09-01T03:09:13.167" v="66446" actId="1076"/>
          <ac:picMkLst>
            <pc:docMk/>
            <pc:sldMk cId="3644594189" sldId="313"/>
            <ac:picMk id="11" creationId="{3D925652-3FF8-8A13-B569-031BE99437D8}"/>
          </ac:picMkLst>
        </pc:picChg>
        <pc:picChg chg="add del mod ord modCrop">
          <ac:chgData name="Lim, Sharon" userId="9ed40bdc-079d-4cee-a990-4411351f7f9c" providerId="ADAL" clId="{DD93C774-82BE-4DBD-AB5E-BA44CCD0E829}" dt="2023-09-01T03:09:01.863" v="66443" actId="478"/>
          <ac:picMkLst>
            <pc:docMk/>
            <pc:sldMk cId="3644594189" sldId="313"/>
            <ac:picMk id="12" creationId="{5DD64435-8C52-1CA0-402F-C8EAB511CFDA}"/>
          </ac:picMkLst>
        </pc:picChg>
        <pc:picChg chg="add mod ord modCrop">
          <ac:chgData name="Lim, Sharon" userId="9ed40bdc-079d-4cee-a990-4411351f7f9c" providerId="ADAL" clId="{DD93C774-82BE-4DBD-AB5E-BA44CCD0E829}" dt="2023-09-01T03:09:13.167" v="66446" actId="1076"/>
          <ac:picMkLst>
            <pc:docMk/>
            <pc:sldMk cId="3644594189" sldId="313"/>
            <ac:picMk id="13" creationId="{07DC1195-3130-B704-1296-BD3A97BF1441}"/>
          </ac:picMkLst>
        </pc:picChg>
      </pc:sldChg>
      <pc:sldChg chg="modSp add mod ord">
        <pc:chgData name="Lim, Sharon" userId="9ed40bdc-079d-4cee-a990-4411351f7f9c" providerId="ADAL" clId="{DD93C774-82BE-4DBD-AB5E-BA44CCD0E829}" dt="2023-08-31T08:50:43.391" v="9451" actId="20577"/>
        <pc:sldMkLst>
          <pc:docMk/>
          <pc:sldMk cId="3977421471" sldId="314"/>
        </pc:sldMkLst>
        <pc:spChg chg="mod">
          <ac:chgData name="Lim, Sharon" userId="9ed40bdc-079d-4cee-a990-4411351f7f9c" providerId="ADAL" clId="{DD93C774-82BE-4DBD-AB5E-BA44CCD0E829}" dt="2023-08-31T08:50:43.391" v="9451" actId="20577"/>
          <ac:spMkLst>
            <pc:docMk/>
            <pc:sldMk cId="3977421471" sldId="314"/>
            <ac:spMk id="6" creationId="{4B57D8F3-220C-771F-0C3D-FA903D1E5FB1}"/>
          </ac:spMkLst>
        </pc:spChg>
      </pc:sldChg>
      <pc:sldChg chg="addSp delSp modSp add mod ord">
        <pc:chgData name="Lim, Sharon" userId="9ed40bdc-079d-4cee-a990-4411351f7f9c" providerId="ADAL" clId="{DD93C774-82BE-4DBD-AB5E-BA44CCD0E829}" dt="2023-09-01T02:42:02.226" v="66368" actId="20577"/>
        <pc:sldMkLst>
          <pc:docMk/>
          <pc:sldMk cId="3240303621" sldId="315"/>
        </pc:sldMkLst>
        <pc:spChg chg="mod">
          <ac:chgData name="Lim, Sharon" userId="9ed40bdc-079d-4cee-a990-4411351f7f9c" providerId="ADAL" clId="{DD93C774-82BE-4DBD-AB5E-BA44CCD0E829}" dt="2023-09-01T01:59:03.343" v="65710" actId="20577"/>
          <ac:spMkLst>
            <pc:docMk/>
            <pc:sldMk cId="3240303621" sldId="315"/>
            <ac:spMk id="3" creationId="{AD81009E-9379-A431-BC36-CD2FDCFF5C67}"/>
          </ac:spMkLst>
        </pc:spChg>
        <pc:spChg chg="mod">
          <ac:chgData name="Lim, Sharon" userId="9ed40bdc-079d-4cee-a990-4411351f7f9c" providerId="ADAL" clId="{DD93C774-82BE-4DBD-AB5E-BA44CCD0E829}" dt="2023-08-31T08:52:32.352" v="9629" actId="20577"/>
          <ac:spMkLst>
            <pc:docMk/>
            <pc:sldMk cId="3240303621" sldId="315"/>
            <ac:spMk id="5" creationId="{9727673B-8413-CCDC-BA64-7D07EAE62EA3}"/>
          </ac:spMkLst>
        </pc:spChg>
        <pc:spChg chg="del">
          <ac:chgData name="Lim, Sharon" userId="9ed40bdc-079d-4cee-a990-4411351f7f9c" providerId="ADAL" clId="{DD93C774-82BE-4DBD-AB5E-BA44CCD0E829}" dt="2023-09-01T01:57:36.987" v="65660" actId="478"/>
          <ac:spMkLst>
            <pc:docMk/>
            <pc:sldMk cId="3240303621" sldId="315"/>
            <ac:spMk id="6" creationId="{95F89051-279F-98F0-F3A3-E8717CF3EC24}"/>
          </ac:spMkLst>
        </pc:spChg>
        <pc:spChg chg="add mod">
          <ac:chgData name="Lim, Sharon" userId="9ed40bdc-079d-4cee-a990-4411351f7f9c" providerId="ADAL" clId="{DD93C774-82BE-4DBD-AB5E-BA44CCD0E829}" dt="2023-09-01T01:58:25.409" v="65681" actId="20577"/>
          <ac:spMkLst>
            <pc:docMk/>
            <pc:sldMk cId="3240303621" sldId="315"/>
            <ac:spMk id="7" creationId="{513BF58C-7CA7-D06D-B78A-61738B6293AD}"/>
          </ac:spMkLst>
        </pc:spChg>
        <pc:spChg chg="add mod">
          <ac:chgData name="Lim, Sharon" userId="9ed40bdc-079d-4cee-a990-4411351f7f9c" providerId="ADAL" clId="{DD93C774-82BE-4DBD-AB5E-BA44CCD0E829}" dt="2023-09-01T02:42:02.226" v="66368" actId="20577"/>
          <ac:spMkLst>
            <pc:docMk/>
            <pc:sldMk cId="3240303621" sldId="315"/>
            <ac:spMk id="8" creationId="{7C6803F6-F67A-F2FF-2CBC-A526C0EAEB70}"/>
          </ac:spMkLst>
        </pc:spChg>
        <pc:picChg chg="mod modCrop">
          <ac:chgData name="Lim, Sharon" userId="9ed40bdc-079d-4cee-a990-4411351f7f9c" providerId="ADAL" clId="{DD93C774-82BE-4DBD-AB5E-BA44CCD0E829}" dt="2023-09-01T01:58:11.624" v="65665" actId="1076"/>
          <ac:picMkLst>
            <pc:docMk/>
            <pc:sldMk cId="3240303621" sldId="315"/>
            <ac:picMk id="2" creationId="{47C3D12E-F08A-B724-CC5D-460181DD5001}"/>
          </ac:picMkLst>
        </pc:picChg>
      </pc:sldChg>
      <pc:sldChg chg="addSp delSp modSp add mod ord">
        <pc:chgData name="Lim, Sharon" userId="9ed40bdc-079d-4cee-a990-4411351f7f9c" providerId="ADAL" clId="{DD93C774-82BE-4DBD-AB5E-BA44CCD0E829}" dt="2023-08-31T10:44:00.645" v="47646"/>
        <pc:sldMkLst>
          <pc:docMk/>
          <pc:sldMk cId="3551800317" sldId="316"/>
        </pc:sldMkLst>
        <pc:spChg chg="add mod ord">
          <ac:chgData name="Lim, Sharon" userId="9ed40bdc-079d-4cee-a990-4411351f7f9c" providerId="ADAL" clId="{DD93C774-82BE-4DBD-AB5E-BA44CCD0E829}" dt="2023-08-31T10:43:38.434" v="47613"/>
          <ac:spMkLst>
            <pc:docMk/>
            <pc:sldMk cId="3551800317" sldId="316"/>
            <ac:spMk id="2" creationId="{27A70C6D-4F36-5634-67FD-DB702A91E413}"/>
          </ac:spMkLst>
        </pc:spChg>
        <pc:spChg chg="add mod ord">
          <ac:chgData name="Lim, Sharon" userId="9ed40bdc-079d-4cee-a990-4411351f7f9c" providerId="ADAL" clId="{DD93C774-82BE-4DBD-AB5E-BA44CCD0E829}" dt="2023-08-31T10:43:38.435" v="47615"/>
          <ac:spMkLst>
            <pc:docMk/>
            <pc:sldMk cId="3551800317" sldId="316"/>
            <ac:spMk id="3" creationId="{309569E5-818D-E0AB-4B5B-831A3227E7F1}"/>
          </ac:spMkLst>
        </pc:spChg>
        <pc:spChg chg="mod ord">
          <ac:chgData name="Lim, Sharon" userId="9ed40bdc-079d-4cee-a990-4411351f7f9c" providerId="ADAL" clId="{DD93C774-82BE-4DBD-AB5E-BA44CCD0E829}" dt="2023-08-31T10:43:38.431" v="47609"/>
          <ac:spMkLst>
            <pc:docMk/>
            <pc:sldMk cId="3551800317" sldId="316"/>
            <ac:spMk id="5" creationId="{9727673B-8413-CCDC-BA64-7D07EAE62EA3}"/>
          </ac:spMkLst>
        </pc:spChg>
        <pc:spChg chg="mod ord">
          <ac:chgData name="Lim, Sharon" userId="9ed40bdc-079d-4cee-a990-4411351f7f9c" providerId="ADAL" clId="{DD93C774-82BE-4DBD-AB5E-BA44CCD0E829}" dt="2023-08-31T10:43:38.433" v="47611"/>
          <ac:spMkLst>
            <pc:docMk/>
            <pc:sldMk cId="3551800317" sldId="316"/>
            <ac:spMk id="6" creationId="{95F89051-279F-98F0-F3A3-E8717CF3EC24}"/>
          </ac:spMkLst>
        </pc:spChg>
        <pc:spChg chg="add mod ord">
          <ac:chgData name="Lim, Sharon" userId="9ed40bdc-079d-4cee-a990-4411351f7f9c" providerId="ADAL" clId="{DD93C774-82BE-4DBD-AB5E-BA44CCD0E829}" dt="2023-08-31T10:43:38.437" v="47617"/>
          <ac:spMkLst>
            <pc:docMk/>
            <pc:sldMk cId="3551800317" sldId="316"/>
            <ac:spMk id="7" creationId="{D2F05241-B0C8-1B09-FB08-3F061308441B}"/>
          </ac:spMkLst>
        </pc:spChg>
        <pc:spChg chg="add mod ord">
          <ac:chgData name="Lim, Sharon" userId="9ed40bdc-079d-4cee-a990-4411351f7f9c" providerId="ADAL" clId="{DD93C774-82BE-4DBD-AB5E-BA44CCD0E829}" dt="2023-08-31T10:43:38.438" v="47619"/>
          <ac:spMkLst>
            <pc:docMk/>
            <pc:sldMk cId="3551800317" sldId="316"/>
            <ac:spMk id="8" creationId="{CC547042-7CE4-54E6-6411-ADE13FFDB19A}"/>
          </ac:spMkLst>
        </pc:spChg>
        <pc:spChg chg="add del mod replST">
          <ac:chgData name="Lim, Sharon" userId="9ed40bdc-079d-4cee-a990-4411351f7f9c" providerId="ADAL" clId="{DD93C774-82BE-4DBD-AB5E-BA44CCD0E829}" dt="2023-08-31T10:39:55.858" v="44462"/>
          <ac:spMkLst>
            <pc:docMk/>
            <pc:sldMk cId="3551800317" sldId="316"/>
            <ac:spMk id="10" creationId="{998FAC5E-7988-44A7-08E4-843E176AF9DF}"/>
          </ac:spMkLst>
        </pc:spChg>
        <pc:spChg chg="add del mod replST">
          <ac:chgData name="Lim, Sharon" userId="9ed40bdc-079d-4cee-a990-4411351f7f9c" providerId="ADAL" clId="{DD93C774-82BE-4DBD-AB5E-BA44CCD0E829}" dt="2023-08-31T10:39:55.764" v="44420"/>
          <ac:spMkLst>
            <pc:docMk/>
            <pc:sldMk cId="3551800317" sldId="316"/>
            <ac:spMk id="11" creationId="{54748FD7-E846-EC7D-9671-FDA5A05C84B1}"/>
          </ac:spMkLst>
        </pc:spChg>
        <pc:spChg chg="add del mod replST">
          <ac:chgData name="Lim, Sharon" userId="9ed40bdc-079d-4cee-a990-4411351f7f9c" providerId="ADAL" clId="{DD93C774-82BE-4DBD-AB5E-BA44CCD0E829}" dt="2023-08-31T10:39:55.764" v="44419"/>
          <ac:spMkLst>
            <pc:docMk/>
            <pc:sldMk cId="3551800317" sldId="316"/>
            <ac:spMk id="12" creationId="{97E33069-12BE-445D-D0D0-E43BFC6A0750}"/>
          </ac:spMkLst>
        </pc:spChg>
        <pc:spChg chg="add del mod replST">
          <ac:chgData name="Lim, Sharon" userId="9ed40bdc-079d-4cee-a990-4411351f7f9c" providerId="ADAL" clId="{DD93C774-82BE-4DBD-AB5E-BA44CCD0E829}" dt="2023-08-31T10:39:55.763" v="44418"/>
          <ac:spMkLst>
            <pc:docMk/>
            <pc:sldMk cId="3551800317" sldId="316"/>
            <ac:spMk id="13" creationId="{17C7B316-48D3-D453-A65E-7AD4043C9BE5}"/>
          </ac:spMkLst>
        </pc:spChg>
        <pc:spChg chg="add del mod replST">
          <ac:chgData name="Lim, Sharon" userId="9ed40bdc-079d-4cee-a990-4411351f7f9c" providerId="ADAL" clId="{DD93C774-82BE-4DBD-AB5E-BA44CCD0E829}" dt="2023-08-31T10:39:55.763" v="44417"/>
          <ac:spMkLst>
            <pc:docMk/>
            <pc:sldMk cId="3551800317" sldId="316"/>
            <ac:spMk id="14" creationId="{1ACEA1B3-0EA3-2394-F0E8-0E518A831198}"/>
          </ac:spMkLst>
        </pc:spChg>
        <pc:spChg chg="add del mod replST">
          <ac:chgData name="Lim, Sharon" userId="9ed40bdc-079d-4cee-a990-4411351f7f9c" providerId="ADAL" clId="{DD93C774-82BE-4DBD-AB5E-BA44CCD0E829}" dt="2023-08-31T10:39:55.618" v="44368"/>
          <ac:spMkLst>
            <pc:docMk/>
            <pc:sldMk cId="3551800317" sldId="316"/>
            <ac:spMk id="20" creationId="{EC6D646B-8DC0-DB6B-4C1D-B86048E90F88}"/>
          </ac:spMkLst>
        </pc:spChg>
        <pc:spChg chg="add del mod replST">
          <ac:chgData name="Lim, Sharon" userId="9ed40bdc-079d-4cee-a990-4411351f7f9c" providerId="ADAL" clId="{DD93C774-82BE-4DBD-AB5E-BA44CCD0E829}" dt="2023-08-31T10:39:55.621" v="44371"/>
          <ac:spMkLst>
            <pc:docMk/>
            <pc:sldMk cId="3551800317" sldId="316"/>
            <ac:spMk id="21" creationId="{4BC99C89-F909-EAA5-0881-04E76F09407A}"/>
          </ac:spMkLst>
        </pc:spChg>
        <pc:spChg chg="add del mod replST">
          <ac:chgData name="Lim, Sharon" userId="9ed40bdc-079d-4cee-a990-4411351f7f9c" providerId="ADAL" clId="{DD93C774-82BE-4DBD-AB5E-BA44CCD0E829}" dt="2023-08-31T10:39:55.622" v="44374"/>
          <ac:spMkLst>
            <pc:docMk/>
            <pc:sldMk cId="3551800317" sldId="316"/>
            <ac:spMk id="22" creationId="{5CB0E5B3-0C20-C363-EB9A-7F7C001BC23E}"/>
          </ac:spMkLst>
        </pc:spChg>
        <pc:spChg chg="add del mod replST">
          <ac:chgData name="Lim, Sharon" userId="9ed40bdc-079d-4cee-a990-4411351f7f9c" providerId="ADAL" clId="{DD93C774-82BE-4DBD-AB5E-BA44CCD0E829}" dt="2023-08-31T10:39:55.624" v="44377"/>
          <ac:spMkLst>
            <pc:docMk/>
            <pc:sldMk cId="3551800317" sldId="316"/>
            <ac:spMk id="23" creationId="{D99745EE-2116-FE94-FD0C-31B1F33EF5B4}"/>
          </ac:spMkLst>
        </pc:spChg>
        <pc:spChg chg="add del mod modVis">
          <ac:chgData name="Lim, Sharon" userId="9ed40bdc-079d-4cee-a990-4411351f7f9c" providerId="ADAL" clId="{DD93C774-82BE-4DBD-AB5E-BA44CCD0E829}" dt="2023-08-31T10:39:05.626" v="43333"/>
          <ac:spMkLst>
            <pc:docMk/>
            <pc:sldMk cId="3551800317" sldId="316"/>
            <ac:spMk id="24" creationId="{FF67351B-6D88-BAA4-9F35-65F7DD1DC87F}"/>
          </ac:spMkLst>
        </pc:spChg>
        <pc:spChg chg="add del mod modVis">
          <ac:chgData name="Lim, Sharon" userId="9ed40bdc-079d-4cee-a990-4411351f7f9c" providerId="ADAL" clId="{DD93C774-82BE-4DBD-AB5E-BA44CCD0E829}" dt="2023-08-31T10:39:10.799" v="43501"/>
          <ac:spMkLst>
            <pc:docMk/>
            <pc:sldMk cId="3551800317" sldId="316"/>
            <ac:spMk id="26" creationId="{5B8CB6B8-FD5D-885E-E656-6DD1DC5C43ED}"/>
          </ac:spMkLst>
        </pc:spChg>
        <pc:spChg chg="add del mod replST">
          <ac:chgData name="Lim, Sharon" userId="9ed40bdc-079d-4cee-a990-4411351f7f9c" providerId="ADAL" clId="{DD93C774-82BE-4DBD-AB5E-BA44CCD0E829}" dt="2023-08-31T10:39:12.090" v="43553"/>
          <ac:spMkLst>
            <pc:docMk/>
            <pc:sldMk cId="3551800317" sldId="316"/>
            <ac:spMk id="27" creationId="{157E2803-2BF7-ABD7-C482-D7A3AD0399C5}"/>
          </ac:spMkLst>
        </pc:spChg>
        <pc:spChg chg="add del mod modVis">
          <ac:chgData name="Lim, Sharon" userId="9ed40bdc-079d-4cee-a990-4411351f7f9c" providerId="ADAL" clId="{DD93C774-82BE-4DBD-AB5E-BA44CCD0E829}" dt="2023-08-31T10:39:12.159" v="43597"/>
          <ac:spMkLst>
            <pc:docMk/>
            <pc:sldMk cId="3551800317" sldId="316"/>
            <ac:spMk id="29" creationId="{99217297-FAD7-BE01-499C-21D37A84CDE4}"/>
          </ac:spMkLst>
        </pc:spChg>
        <pc:spChg chg="add del mod modVis">
          <ac:chgData name="Lim, Sharon" userId="9ed40bdc-079d-4cee-a990-4411351f7f9c" providerId="ADAL" clId="{DD93C774-82BE-4DBD-AB5E-BA44CCD0E829}" dt="2023-08-31T10:39:14.056" v="43691"/>
          <ac:spMkLst>
            <pc:docMk/>
            <pc:sldMk cId="3551800317" sldId="316"/>
            <ac:spMk id="31" creationId="{FCB54060-74B8-1F03-7367-4CF881C85A7F}"/>
          </ac:spMkLst>
        </pc:spChg>
        <pc:spChg chg="add del mod modVis">
          <ac:chgData name="Lim, Sharon" userId="9ed40bdc-079d-4cee-a990-4411351f7f9c" providerId="ADAL" clId="{DD93C774-82BE-4DBD-AB5E-BA44CCD0E829}" dt="2023-08-31T10:39:36.911" v="43857"/>
          <ac:spMkLst>
            <pc:docMk/>
            <pc:sldMk cId="3551800317" sldId="316"/>
            <ac:spMk id="33" creationId="{D9076FCB-B94D-6CBE-1468-2C42B0BFCA3B}"/>
          </ac:spMkLst>
        </pc:spChg>
        <pc:spChg chg="add del mod modVis">
          <ac:chgData name="Lim, Sharon" userId="9ed40bdc-079d-4cee-a990-4411351f7f9c" providerId="ADAL" clId="{DD93C774-82BE-4DBD-AB5E-BA44CCD0E829}" dt="2023-08-31T10:39:38.744" v="44023"/>
          <ac:spMkLst>
            <pc:docMk/>
            <pc:sldMk cId="3551800317" sldId="316"/>
            <ac:spMk id="35" creationId="{BEC3052D-2673-E5F6-9549-F2AE5BE6E52D}"/>
          </ac:spMkLst>
        </pc:spChg>
        <pc:spChg chg="add del mod modVis">
          <ac:chgData name="Lim, Sharon" userId="9ed40bdc-079d-4cee-a990-4411351f7f9c" providerId="ADAL" clId="{DD93C774-82BE-4DBD-AB5E-BA44CCD0E829}" dt="2023-08-31T10:39:40.593" v="44189"/>
          <ac:spMkLst>
            <pc:docMk/>
            <pc:sldMk cId="3551800317" sldId="316"/>
            <ac:spMk id="37" creationId="{52E5A44C-DEF1-500B-22C1-835BDC83DAF3}"/>
          </ac:spMkLst>
        </pc:spChg>
        <pc:spChg chg="add del mod modVis">
          <ac:chgData name="Lim, Sharon" userId="9ed40bdc-079d-4cee-a990-4411351f7f9c" providerId="ADAL" clId="{DD93C774-82BE-4DBD-AB5E-BA44CCD0E829}" dt="2023-08-31T10:39:43.267" v="44355"/>
          <ac:spMkLst>
            <pc:docMk/>
            <pc:sldMk cId="3551800317" sldId="316"/>
            <ac:spMk id="39" creationId="{20EEB48C-47B3-86F2-6B43-D05BCCCF737A}"/>
          </ac:spMkLst>
        </pc:spChg>
        <pc:spChg chg="add del mod modVis">
          <ac:chgData name="Lim, Sharon" userId="9ed40bdc-079d-4cee-a990-4411351f7f9c" providerId="ADAL" clId="{DD93C774-82BE-4DBD-AB5E-BA44CCD0E829}" dt="2023-08-31T10:39:55.942" v="44497"/>
          <ac:spMkLst>
            <pc:docMk/>
            <pc:sldMk cId="3551800317" sldId="316"/>
            <ac:spMk id="41" creationId="{B80C8832-30CC-5F27-1C87-72B7500B491D}"/>
          </ac:spMkLst>
        </pc:spChg>
        <pc:spChg chg="add del mod modVis">
          <ac:chgData name="Lim, Sharon" userId="9ed40bdc-079d-4cee-a990-4411351f7f9c" providerId="ADAL" clId="{DD93C774-82BE-4DBD-AB5E-BA44CCD0E829}" dt="2023-08-31T10:40:02.410" v="44654"/>
          <ac:spMkLst>
            <pc:docMk/>
            <pc:sldMk cId="3551800317" sldId="316"/>
            <ac:spMk id="43" creationId="{9CAB24D5-AF7A-5A49-65CF-B84B5252B8FB}"/>
          </ac:spMkLst>
        </pc:spChg>
        <pc:spChg chg="add mod replST">
          <ac:chgData name="Lim, Sharon" userId="9ed40bdc-079d-4cee-a990-4411351f7f9c" providerId="ADAL" clId="{DD93C774-82BE-4DBD-AB5E-BA44CCD0E829}" dt="2023-08-31T10:43:38.454" v="47633"/>
          <ac:spMkLst>
            <pc:docMk/>
            <pc:sldMk cId="3551800317" sldId="316"/>
            <ac:spMk id="44" creationId="{157E2803-2BF7-ABD7-C482-D7A3AD0399C5}"/>
          </ac:spMkLst>
        </pc:spChg>
        <pc:spChg chg="add mod replST">
          <ac:chgData name="Lim, Sharon" userId="9ed40bdc-079d-4cee-a990-4411351f7f9c" providerId="ADAL" clId="{DD93C774-82BE-4DBD-AB5E-BA44CCD0E829}" dt="2023-08-31T10:43:38.455" v="47634"/>
          <ac:spMkLst>
            <pc:docMk/>
            <pc:sldMk cId="3551800317" sldId="316"/>
            <ac:spMk id="46" creationId="{DAE92E55-4AC9-5E00-1DC8-C08851D3D5BF}"/>
          </ac:spMkLst>
        </pc:spChg>
        <pc:spChg chg="add del mod modVis">
          <ac:chgData name="Lim, Sharon" userId="9ed40bdc-079d-4cee-a990-4411351f7f9c" providerId="ADAL" clId="{DD93C774-82BE-4DBD-AB5E-BA44CCD0E829}" dt="2023-08-31T10:40:03.692" v="44761"/>
          <ac:spMkLst>
            <pc:docMk/>
            <pc:sldMk cId="3551800317" sldId="316"/>
            <ac:spMk id="47" creationId="{F259D5F4-25B5-CC28-97D1-5CA8B176BE40}"/>
          </ac:spMkLst>
        </pc:spChg>
        <pc:spChg chg="add mod replST">
          <ac:chgData name="Lim, Sharon" userId="9ed40bdc-079d-4cee-a990-4411351f7f9c" providerId="ADAL" clId="{DD93C774-82BE-4DBD-AB5E-BA44CCD0E829}" dt="2023-08-31T10:43:38.457" v="47635"/>
          <ac:spMkLst>
            <pc:docMk/>
            <pc:sldMk cId="3551800317" sldId="316"/>
            <ac:spMk id="49" creationId="{AD67CEAD-175D-0847-C5C8-7CE7781BE82A}"/>
          </ac:spMkLst>
        </pc:spChg>
        <pc:spChg chg="add del mod modVis">
          <ac:chgData name="Lim, Sharon" userId="9ed40bdc-079d-4cee-a990-4411351f7f9c" providerId="ADAL" clId="{DD93C774-82BE-4DBD-AB5E-BA44CCD0E829}" dt="2023-08-31T10:40:05.398" v="44870"/>
          <ac:spMkLst>
            <pc:docMk/>
            <pc:sldMk cId="3551800317" sldId="316"/>
            <ac:spMk id="50" creationId="{AFAB5199-68A4-1485-3893-0D0F34FCD175}"/>
          </ac:spMkLst>
        </pc:spChg>
        <pc:spChg chg="add mod replST">
          <ac:chgData name="Lim, Sharon" userId="9ed40bdc-079d-4cee-a990-4411351f7f9c" providerId="ADAL" clId="{DD93C774-82BE-4DBD-AB5E-BA44CCD0E829}" dt="2023-08-31T10:43:38.458" v="47636"/>
          <ac:spMkLst>
            <pc:docMk/>
            <pc:sldMk cId="3551800317" sldId="316"/>
            <ac:spMk id="52" creationId="{B5EB1D99-5159-57D9-6A0C-7FB6EF23BA70}"/>
          </ac:spMkLst>
        </pc:spChg>
        <pc:spChg chg="add del mod modVis">
          <ac:chgData name="Lim, Sharon" userId="9ed40bdc-079d-4cee-a990-4411351f7f9c" providerId="ADAL" clId="{DD93C774-82BE-4DBD-AB5E-BA44CCD0E829}" dt="2023-08-31T10:40:07.093" v="44981"/>
          <ac:spMkLst>
            <pc:docMk/>
            <pc:sldMk cId="3551800317" sldId="316"/>
            <ac:spMk id="53" creationId="{662D5CD0-E930-2705-CA65-5EAC46408F48}"/>
          </ac:spMkLst>
        </pc:spChg>
        <pc:spChg chg="add mod replST">
          <ac:chgData name="Lim, Sharon" userId="9ed40bdc-079d-4cee-a990-4411351f7f9c" providerId="ADAL" clId="{DD93C774-82BE-4DBD-AB5E-BA44CCD0E829}" dt="2023-08-31T10:43:38.460" v="47637"/>
          <ac:spMkLst>
            <pc:docMk/>
            <pc:sldMk cId="3551800317" sldId="316"/>
            <ac:spMk id="55" creationId="{16E631E1-6AC2-FA6B-564A-6E8B6BAA41BF}"/>
          </ac:spMkLst>
        </pc:spChg>
        <pc:spChg chg="add mod replST">
          <ac:chgData name="Lim, Sharon" userId="9ed40bdc-079d-4cee-a990-4411351f7f9c" providerId="ADAL" clId="{DD93C774-82BE-4DBD-AB5E-BA44CCD0E829}" dt="2023-08-31T10:43:38.461" v="47638"/>
          <ac:spMkLst>
            <pc:docMk/>
            <pc:sldMk cId="3551800317" sldId="316"/>
            <ac:spMk id="56" creationId="{6EBF9BFC-0D41-05F4-6CD5-72C4F3D246B7}"/>
          </ac:spMkLst>
        </pc:spChg>
        <pc:spChg chg="add del mod modVis">
          <ac:chgData name="Lim, Sharon" userId="9ed40bdc-079d-4cee-a990-4411351f7f9c" providerId="ADAL" clId="{DD93C774-82BE-4DBD-AB5E-BA44CCD0E829}" dt="2023-08-31T10:40:08.899" v="45149"/>
          <ac:spMkLst>
            <pc:docMk/>
            <pc:sldMk cId="3551800317" sldId="316"/>
            <ac:spMk id="57" creationId="{D1166A6F-6D27-0563-3EC5-BDFCFF5CA0C3}"/>
          </ac:spMkLst>
        </pc:spChg>
        <pc:spChg chg="add del mod modVis">
          <ac:chgData name="Lim, Sharon" userId="9ed40bdc-079d-4cee-a990-4411351f7f9c" providerId="ADAL" clId="{DD93C774-82BE-4DBD-AB5E-BA44CCD0E829}" dt="2023-08-31T10:41:14.069" v="45360"/>
          <ac:spMkLst>
            <pc:docMk/>
            <pc:sldMk cId="3551800317" sldId="316"/>
            <ac:spMk id="61" creationId="{8F23537A-E39A-CBB6-A47F-1E63DA880621}"/>
          </ac:spMkLst>
        </pc:spChg>
        <pc:spChg chg="add del mod modVis">
          <ac:chgData name="Lim, Sharon" userId="9ed40bdc-079d-4cee-a990-4411351f7f9c" providerId="ADAL" clId="{DD93C774-82BE-4DBD-AB5E-BA44CCD0E829}" dt="2023-08-31T10:41:17.488" v="45556"/>
          <ac:spMkLst>
            <pc:docMk/>
            <pc:sldMk cId="3551800317" sldId="316"/>
            <ac:spMk id="68" creationId="{5E7383B2-5B9E-3804-E347-1F9240FC3626}"/>
          </ac:spMkLst>
        </pc:spChg>
        <pc:spChg chg="add del mod modVis">
          <ac:chgData name="Lim, Sharon" userId="9ed40bdc-079d-4cee-a990-4411351f7f9c" providerId="ADAL" clId="{DD93C774-82BE-4DBD-AB5E-BA44CCD0E829}" dt="2023-08-31T10:41:21.139" v="45656"/>
          <ac:spMkLst>
            <pc:docMk/>
            <pc:sldMk cId="3551800317" sldId="316"/>
            <ac:spMk id="74" creationId="{A4E6B09E-8418-D0FF-64D8-5B9CC79D1C3E}"/>
          </ac:spMkLst>
        </pc:spChg>
        <pc:spChg chg="add del mod modVis">
          <ac:chgData name="Lim, Sharon" userId="9ed40bdc-079d-4cee-a990-4411351f7f9c" providerId="ADAL" clId="{DD93C774-82BE-4DBD-AB5E-BA44CCD0E829}" dt="2023-08-31T10:41:26.485" v="45776"/>
          <ac:spMkLst>
            <pc:docMk/>
            <pc:sldMk cId="3551800317" sldId="316"/>
            <ac:spMk id="76" creationId="{14BED801-C16F-14C7-DD61-87EE3B4B06DD}"/>
          </ac:spMkLst>
        </pc:spChg>
        <pc:spChg chg="add del mod modVis">
          <ac:chgData name="Lim, Sharon" userId="9ed40bdc-079d-4cee-a990-4411351f7f9c" providerId="ADAL" clId="{DD93C774-82BE-4DBD-AB5E-BA44CCD0E829}" dt="2023-08-31T10:41:34.369" v="45882"/>
          <ac:spMkLst>
            <pc:docMk/>
            <pc:sldMk cId="3551800317" sldId="316"/>
            <ac:spMk id="78" creationId="{BA725498-B6D5-9DC8-CAFF-0D3BA146ADC4}"/>
          </ac:spMkLst>
        </pc:spChg>
        <pc:spChg chg="add del mod modVis">
          <ac:chgData name="Lim, Sharon" userId="9ed40bdc-079d-4cee-a990-4411351f7f9c" providerId="ADAL" clId="{DD93C774-82BE-4DBD-AB5E-BA44CCD0E829}" dt="2023-08-31T10:42:07.168" v="46056"/>
          <ac:spMkLst>
            <pc:docMk/>
            <pc:sldMk cId="3551800317" sldId="316"/>
            <ac:spMk id="80" creationId="{24D93749-F1E8-03A2-0B48-3874D8B99268}"/>
          </ac:spMkLst>
        </pc:spChg>
        <pc:spChg chg="add del mod modVis">
          <ac:chgData name="Lim, Sharon" userId="9ed40bdc-079d-4cee-a990-4411351f7f9c" providerId="ADAL" clId="{DD93C774-82BE-4DBD-AB5E-BA44CCD0E829}" dt="2023-08-31T10:42:09.706" v="46171"/>
          <ac:spMkLst>
            <pc:docMk/>
            <pc:sldMk cId="3551800317" sldId="316"/>
            <ac:spMk id="84" creationId="{FEA896F9-A440-58C0-F5A3-F263408A8394}"/>
          </ac:spMkLst>
        </pc:spChg>
        <pc:spChg chg="add del mod modVis">
          <ac:chgData name="Lim, Sharon" userId="9ed40bdc-079d-4cee-a990-4411351f7f9c" providerId="ADAL" clId="{DD93C774-82BE-4DBD-AB5E-BA44CCD0E829}" dt="2023-08-31T10:42:11.960" v="46281"/>
          <ac:spMkLst>
            <pc:docMk/>
            <pc:sldMk cId="3551800317" sldId="316"/>
            <ac:spMk id="87" creationId="{C2884A03-6F30-B212-7E6E-72461A78945C}"/>
          </ac:spMkLst>
        </pc:spChg>
        <pc:spChg chg="add del mod modVis">
          <ac:chgData name="Lim, Sharon" userId="9ed40bdc-079d-4cee-a990-4411351f7f9c" providerId="ADAL" clId="{DD93C774-82BE-4DBD-AB5E-BA44CCD0E829}" dt="2023-08-31T10:42:14.933" v="46397"/>
          <ac:spMkLst>
            <pc:docMk/>
            <pc:sldMk cId="3551800317" sldId="316"/>
            <ac:spMk id="89" creationId="{605C27A6-758F-E259-3C73-5BDD2F75FDED}"/>
          </ac:spMkLst>
        </pc:spChg>
        <pc:spChg chg="add del mod modVis">
          <ac:chgData name="Lim, Sharon" userId="9ed40bdc-079d-4cee-a990-4411351f7f9c" providerId="ADAL" clId="{DD93C774-82BE-4DBD-AB5E-BA44CCD0E829}" dt="2023-08-31T10:42:26.232" v="46562"/>
          <ac:spMkLst>
            <pc:docMk/>
            <pc:sldMk cId="3551800317" sldId="316"/>
            <ac:spMk id="91" creationId="{AFF405FF-B8BC-0276-909E-F4A188D18B77}"/>
          </ac:spMkLst>
        </pc:spChg>
        <pc:spChg chg="add del mod modVis">
          <ac:chgData name="Lim, Sharon" userId="9ed40bdc-079d-4cee-a990-4411351f7f9c" providerId="ADAL" clId="{DD93C774-82BE-4DBD-AB5E-BA44CCD0E829}" dt="2023-08-31T10:42:28.125" v="46652"/>
          <ac:spMkLst>
            <pc:docMk/>
            <pc:sldMk cId="3551800317" sldId="316"/>
            <ac:spMk id="94" creationId="{1273EC23-F821-E37F-16E3-690430F7D4ED}"/>
          </ac:spMkLst>
        </pc:spChg>
        <pc:spChg chg="add del mod modVis">
          <ac:chgData name="Lim, Sharon" userId="9ed40bdc-079d-4cee-a990-4411351f7f9c" providerId="ADAL" clId="{DD93C774-82BE-4DBD-AB5E-BA44CCD0E829}" dt="2023-08-31T10:42:45.524" v="46742"/>
          <ac:spMkLst>
            <pc:docMk/>
            <pc:sldMk cId="3551800317" sldId="316"/>
            <ac:spMk id="96" creationId="{85BEF030-915E-F005-8863-8DABFD55D7AE}"/>
          </ac:spMkLst>
        </pc:spChg>
        <pc:spChg chg="add del mod modVis">
          <ac:chgData name="Lim, Sharon" userId="9ed40bdc-079d-4cee-a990-4411351f7f9c" providerId="ADAL" clId="{DD93C774-82BE-4DBD-AB5E-BA44CCD0E829}" dt="2023-08-31T10:42:49.002" v="46832"/>
          <ac:spMkLst>
            <pc:docMk/>
            <pc:sldMk cId="3551800317" sldId="316"/>
            <ac:spMk id="98" creationId="{6DA781AF-4AC0-AAF8-F250-734F5EE9E717}"/>
          </ac:spMkLst>
        </pc:spChg>
        <pc:spChg chg="add del mod modVis">
          <ac:chgData name="Lim, Sharon" userId="9ed40bdc-079d-4cee-a990-4411351f7f9c" providerId="ADAL" clId="{DD93C774-82BE-4DBD-AB5E-BA44CCD0E829}" dt="2023-08-31T10:42:52.013" v="46922"/>
          <ac:spMkLst>
            <pc:docMk/>
            <pc:sldMk cId="3551800317" sldId="316"/>
            <ac:spMk id="100" creationId="{3CFB567C-E4BC-8E7F-D7A5-B22E5F794EDF}"/>
          </ac:spMkLst>
        </pc:spChg>
        <pc:spChg chg="add del mod modVis">
          <ac:chgData name="Lim, Sharon" userId="9ed40bdc-079d-4cee-a990-4411351f7f9c" providerId="ADAL" clId="{DD93C774-82BE-4DBD-AB5E-BA44CCD0E829}" dt="2023-08-31T10:42:57.308" v="47012"/>
          <ac:spMkLst>
            <pc:docMk/>
            <pc:sldMk cId="3551800317" sldId="316"/>
            <ac:spMk id="102" creationId="{E181D73C-5EBF-4A12-EBA6-F35A4F3E1CBF}"/>
          </ac:spMkLst>
        </pc:spChg>
        <pc:spChg chg="add del mod modVis">
          <ac:chgData name="Lim, Sharon" userId="9ed40bdc-079d-4cee-a990-4411351f7f9c" providerId="ADAL" clId="{DD93C774-82BE-4DBD-AB5E-BA44CCD0E829}" dt="2023-08-31T10:43:01.243" v="47102"/>
          <ac:spMkLst>
            <pc:docMk/>
            <pc:sldMk cId="3551800317" sldId="316"/>
            <ac:spMk id="104" creationId="{AEB8BA8E-84C3-E3DB-D78C-F59A67AF2655}"/>
          </ac:spMkLst>
        </pc:spChg>
        <pc:spChg chg="add del mod modVis">
          <ac:chgData name="Lim, Sharon" userId="9ed40bdc-079d-4cee-a990-4411351f7f9c" providerId="ADAL" clId="{DD93C774-82BE-4DBD-AB5E-BA44CCD0E829}" dt="2023-08-31T10:43:04.991" v="47192"/>
          <ac:spMkLst>
            <pc:docMk/>
            <pc:sldMk cId="3551800317" sldId="316"/>
            <ac:spMk id="106" creationId="{639A9A8C-1711-4C9D-A543-6EEE0398E4BC}"/>
          </ac:spMkLst>
        </pc:spChg>
        <pc:spChg chg="add del mod modVis">
          <ac:chgData name="Lim, Sharon" userId="9ed40bdc-079d-4cee-a990-4411351f7f9c" providerId="ADAL" clId="{DD93C774-82BE-4DBD-AB5E-BA44CCD0E829}" dt="2023-08-31T10:43:25.335" v="47282"/>
          <ac:spMkLst>
            <pc:docMk/>
            <pc:sldMk cId="3551800317" sldId="316"/>
            <ac:spMk id="108" creationId="{7E1462C2-FB1A-838E-39E8-A0E90147101C}"/>
          </ac:spMkLst>
        </pc:spChg>
        <pc:spChg chg="add del mod modVis">
          <ac:chgData name="Lim, Sharon" userId="9ed40bdc-079d-4cee-a990-4411351f7f9c" providerId="ADAL" clId="{DD93C774-82BE-4DBD-AB5E-BA44CCD0E829}" dt="2023-08-31T10:43:28.764" v="47372"/>
          <ac:spMkLst>
            <pc:docMk/>
            <pc:sldMk cId="3551800317" sldId="316"/>
            <ac:spMk id="110" creationId="{7E752101-BC20-1B39-494D-53C60DE479EC}"/>
          </ac:spMkLst>
        </pc:spChg>
        <pc:spChg chg="add del mod modVis">
          <ac:chgData name="Lim, Sharon" userId="9ed40bdc-079d-4cee-a990-4411351f7f9c" providerId="ADAL" clId="{DD93C774-82BE-4DBD-AB5E-BA44CCD0E829}" dt="2023-08-31T10:43:31.452" v="47462"/>
          <ac:spMkLst>
            <pc:docMk/>
            <pc:sldMk cId="3551800317" sldId="316"/>
            <ac:spMk id="112" creationId="{FF617ECE-D09D-B70C-F123-7602167B9AC8}"/>
          </ac:spMkLst>
        </pc:spChg>
        <pc:spChg chg="add del mod modVis">
          <ac:chgData name="Lim, Sharon" userId="9ed40bdc-079d-4cee-a990-4411351f7f9c" providerId="ADAL" clId="{DD93C774-82BE-4DBD-AB5E-BA44CCD0E829}" dt="2023-08-31T10:43:34.340" v="47552"/>
          <ac:spMkLst>
            <pc:docMk/>
            <pc:sldMk cId="3551800317" sldId="316"/>
            <ac:spMk id="114" creationId="{2FCD886A-00A0-B299-0167-C940ADEE6BF3}"/>
          </ac:spMkLst>
        </pc:spChg>
        <pc:spChg chg="add del mod modVis">
          <ac:chgData name="Lim, Sharon" userId="9ed40bdc-079d-4cee-a990-4411351f7f9c" providerId="ADAL" clId="{DD93C774-82BE-4DBD-AB5E-BA44CCD0E829}" dt="2023-08-31T10:43:38.464" v="47642"/>
          <ac:spMkLst>
            <pc:docMk/>
            <pc:sldMk cId="3551800317" sldId="316"/>
            <ac:spMk id="116" creationId="{4B331CD8-BC03-B784-A980-79325341E19B}"/>
          </ac:spMkLst>
        </pc:spChg>
        <pc:graphicFrameChg chg="mod">
          <ac:chgData name="Lim, Sharon" userId="9ed40bdc-079d-4cee-a990-4411351f7f9c" providerId="ADAL" clId="{DD93C774-82BE-4DBD-AB5E-BA44CCD0E829}" dt="2023-08-31T10:43:38.483" v="47644"/>
          <ac:graphicFrameMkLst>
            <pc:docMk/>
            <pc:sldMk cId="3551800317" sldId="316"/>
            <ac:graphicFrameMk id="4" creationId="{DF641BDA-2511-C092-BA40-27C321E82FFD}"/>
          </ac:graphicFrameMkLst>
        </pc:graphicFrameChg>
        <pc:graphicFrameChg chg="add del mod replST">
          <ac:chgData name="Lim, Sharon" userId="9ed40bdc-079d-4cee-a990-4411351f7f9c" providerId="ADAL" clId="{DD93C774-82BE-4DBD-AB5E-BA44CCD0E829}" dt="2023-08-31T10:39:05.415" v="43175"/>
          <ac:graphicFrameMkLst>
            <pc:docMk/>
            <pc:sldMk cId="3551800317" sldId="316"/>
            <ac:graphicFrameMk id="9" creationId="{3190A459-B498-DBF6-28E3-F748487DE7A4}"/>
          </ac:graphicFrameMkLst>
        </pc:graphicFrameChg>
        <pc:graphicFrameChg chg="add del mod replST">
          <ac:chgData name="Lim, Sharon" userId="9ed40bdc-079d-4cee-a990-4411351f7f9c" providerId="ADAL" clId="{DD93C774-82BE-4DBD-AB5E-BA44CCD0E829}" dt="2023-08-31T10:39:10.717" v="43446"/>
          <ac:graphicFrameMkLst>
            <pc:docMk/>
            <pc:sldMk cId="3551800317" sldId="316"/>
            <ac:graphicFrameMk id="25" creationId="{1FCA56F2-1F44-A6C8-4A3B-2037548F573F}"/>
          </ac:graphicFrameMkLst>
        </pc:graphicFrameChg>
        <pc:graphicFrameChg chg="add del mod replST">
          <ac:chgData name="Lim, Sharon" userId="9ed40bdc-079d-4cee-a990-4411351f7f9c" providerId="ADAL" clId="{DD93C774-82BE-4DBD-AB5E-BA44CCD0E829}" dt="2023-08-31T10:39:12.092" v="43555"/>
          <ac:graphicFrameMkLst>
            <pc:docMk/>
            <pc:sldMk cId="3551800317" sldId="316"/>
            <ac:graphicFrameMk id="28" creationId="{FFF691A0-AEF1-88D9-935E-C0A6529ECE5B}"/>
          </ac:graphicFrameMkLst>
        </pc:graphicFrameChg>
        <pc:graphicFrameChg chg="add del mod replST">
          <ac:chgData name="Lim, Sharon" userId="9ed40bdc-079d-4cee-a990-4411351f7f9c" providerId="ADAL" clId="{DD93C774-82BE-4DBD-AB5E-BA44CCD0E829}" dt="2023-08-31T10:39:13.987" v="43651"/>
          <ac:graphicFrameMkLst>
            <pc:docMk/>
            <pc:sldMk cId="3551800317" sldId="316"/>
            <ac:graphicFrameMk id="30" creationId="{0ACF55E2-FBF7-3921-4CEF-14225784DA7B}"/>
          </ac:graphicFrameMkLst>
        </pc:graphicFrameChg>
        <pc:graphicFrameChg chg="add del mod replST">
          <ac:chgData name="Lim, Sharon" userId="9ed40bdc-079d-4cee-a990-4411351f7f9c" providerId="ADAL" clId="{DD93C774-82BE-4DBD-AB5E-BA44CCD0E829}" dt="2023-08-31T10:39:36.768" v="43759"/>
          <ac:graphicFrameMkLst>
            <pc:docMk/>
            <pc:sldMk cId="3551800317" sldId="316"/>
            <ac:graphicFrameMk id="32" creationId="{01A5A678-5DA0-3AB8-8B0D-6D91C74FBD0E}"/>
          </ac:graphicFrameMkLst>
        </pc:graphicFrameChg>
        <pc:graphicFrameChg chg="add del mod replST">
          <ac:chgData name="Lim, Sharon" userId="9ed40bdc-079d-4cee-a990-4411351f7f9c" providerId="ADAL" clId="{DD93C774-82BE-4DBD-AB5E-BA44CCD0E829}" dt="2023-08-31T10:39:38.566" v="43925"/>
          <ac:graphicFrameMkLst>
            <pc:docMk/>
            <pc:sldMk cId="3551800317" sldId="316"/>
            <ac:graphicFrameMk id="34" creationId="{A2ADA6DA-E00F-B1AE-6AF2-0237B4E5BA02}"/>
          </ac:graphicFrameMkLst>
        </pc:graphicFrameChg>
        <pc:graphicFrameChg chg="add del mod replST">
          <ac:chgData name="Lim, Sharon" userId="9ed40bdc-079d-4cee-a990-4411351f7f9c" providerId="ADAL" clId="{DD93C774-82BE-4DBD-AB5E-BA44CCD0E829}" dt="2023-08-31T10:39:40.476" v="44091"/>
          <ac:graphicFrameMkLst>
            <pc:docMk/>
            <pc:sldMk cId="3551800317" sldId="316"/>
            <ac:graphicFrameMk id="36" creationId="{B13E9666-8F56-13F3-4AED-DEA9A0D8E0BA}"/>
          </ac:graphicFrameMkLst>
        </pc:graphicFrameChg>
        <pc:graphicFrameChg chg="add del mod replST">
          <ac:chgData name="Lim, Sharon" userId="9ed40bdc-079d-4cee-a990-4411351f7f9c" providerId="ADAL" clId="{DD93C774-82BE-4DBD-AB5E-BA44CCD0E829}" dt="2023-08-31T10:39:43.167" v="44257"/>
          <ac:graphicFrameMkLst>
            <pc:docMk/>
            <pc:sldMk cId="3551800317" sldId="316"/>
            <ac:graphicFrameMk id="38" creationId="{234BD935-DF8D-97D3-6045-722EDDCF3A5C}"/>
          </ac:graphicFrameMkLst>
        </pc:graphicFrameChg>
        <pc:graphicFrameChg chg="add del mod replST">
          <ac:chgData name="Lim, Sharon" userId="9ed40bdc-079d-4cee-a990-4411351f7f9c" providerId="ADAL" clId="{DD93C774-82BE-4DBD-AB5E-BA44CCD0E829}" dt="2023-08-31T10:39:55.860" v="44464"/>
          <ac:graphicFrameMkLst>
            <pc:docMk/>
            <pc:sldMk cId="3551800317" sldId="316"/>
            <ac:graphicFrameMk id="40" creationId="{0EC1A896-E8D7-4511-BFB6-AF2224AB8397}"/>
          </ac:graphicFrameMkLst>
        </pc:graphicFrameChg>
        <pc:graphicFrameChg chg="add del mod replST">
          <ac:chgData name="Lim, Sharon" userId="9ed40bdc-079d-4cee-a990-4411351f7f9c" providerId="ADAL" clId="{DD93C774-82BE-4DBD-AB5E-BA44CCD0E829}" dt="2023-08-31T10:40:02.324" v="44622"/>
          <ac:graphicFrameMkLst>
            <pc:docMk/>
            <pc:sldMk cId="3551800317" sldId="316"/>
            <ac:graphicFrameMk id="42" creationId="{40B49054-69FD-459F-296F-0944FA5A9DDA}"/>
          </ac:graphicFrameMkLst>
        </pc:graphicFrameChg>
        <pc:graphicFrameChg chg="add del mod replST">
          <ac:chgData name="Lim, Sharon" userId="9ed40bdc-079d-4cee-a990-4411351f7f9c" providerId="ADAL" clId="{DD93C774-82BE-4DBD-AB5E-BA44CCD0E829}" dt="2023-08-31T10:40:03.625" v="44722"/>
          <ac:graphicFrameMkLst>
            <pc:docMk/>
            <pc:sldMk cId="3551800317" sldId="316"/>
            <ac:graphicFrameMk id="45" creationId="{B1BA60A5-7994-B91A-B5A4-09F4A8D19BE4}"/>
          </ac:graphicFrameMkLst>
        </pc:graphicFrameChg>
        <pc:graphicFrameChg chg="add del mod replST">
          <ac:chgData name="Lim, Sharon" userId="9ed40bdc-079d-4cee-a990-4411351f7f9c" providerId="ADAL" clId="{DD93C774-82BE-4DBD-AB5E-BA44CCD0E829}" dt="2023-08-31T10:40:05.336" v="44830"/>
          <ac:graphicFrameMkLst>
            <pc:docMk/>
            <pc:sldMk cId="3551800317" sldId="316"/>
            <ac:graphicFrameMk id="48" creationId="{78FFF055-E1C2-D275-EE96-678F11C456EB}"/>
          </ac:graphicFrameMkLst>
        </pc:graphicFrameChg>
        <pc:graphicFrameChg chg="add del mod replST">
          <ac:chgData name="Lim, Sharon" userId="9ed40bdc-079d-4cee-a990-4411351f7f9c" providerId="ADAL" clId="{DD93C774-82BE-4DBD-AB5E-BA44CCD0E829}" dt="2023-08-31T10:40:07.028" v="44940"/>
          <ac:graphicFrameMkLst>
            <pc:docMk/>
            <pc:sldMk cId="3551800317" sldId="316"/>
            <ac:graphicFrameMk id="51" creationId="{BE973A79-1385-5225-7007-D13809EBAB82}"/>
          </ac:graphicFrameMkLst>
        </pc:graphicFrameChg>
        <pc:graphicFrameChg chg="add del mod replST">
          <ac:chgData name="Lim, Sharon" userId="9ed40bdc-079d-4cee-a990-4411351f7f9c" providerId="ADAL" clId="{DD93C774-82BE-4DBD-AB5E-BA44CCD0E829}" dt="2023-08-31T10:40:08.771" v="45102"/>
          <ac:graphicFrameMkLst>
            <pc:docMk/>
            <pc:sldMk cId="3551800317" sldId="316"/>
            <ac:graphicFrameMk id="54" creationId="{F9A89DAB-3695-CA50-2B7D-C80DAF65D593}"/>
          </ac:graphicFrameMkLst>
        </pc:graphicFrameChg>
        <pc:graphicFrameChg chg="add del mod replST">
          <ac:chgData name="Lim, Sharon" userId="9ed40bdc-079d-4cee-a990-4411351f7f9c" providerId="ADAL" clId="{DD93C774-82BE-4DBD-AB5E-BA44CCD0E829}" dt="2023-08-31T10:41:13.978" v="45317"/>
          <ac:graphicFrameMkLst>
            <pc:docMk/>
            <pc:sldMk cId="3551800317" sldId="316"/>
            <ac:graphicFrameMk id="60" creationId="{9DAC4F39-E871-D094-0608-C5B37B7E9AA5}"/>
          </ac:graphicFrameMkLst>
        </pc:graphicFrameChg>
        <pc:graphicFrameChg chg="add del mod replST">
          <ac:chgData name="Lim, Sharon" userId="9ed40bdc-079d-4cee-a990-4411351f7f9c" providerId="ADAL" clId="{DD93C774-82BE-4DBD-AB5E-BA44CCD0E829}" dt="2023-08-31T10:41:17.428" v="45507"/>
          <ac:graphicFrameMkLst>
            <pc:docMk/>
            <pc:sldMk cId="3551800317" sldId="316"/>
            <ac:graphicFrameMk id="67" creationId="{F95432E2-91F8-02AF-C4CD-6E35DDD3B7F0}"/>
          </ac:graphicFrameMkLst>
        </pc:graphicFrameChg>
        <pc:graphicFrameChg chg="add del mod replST">
          <ac:chgData name="Lim, Sharon" userId="9ed40bdc-079d-4cee-a990-4411351f7f9c" providerId="ADAL" clId="{DD93C774-82BE-4DBD-AB5E-BA44CCD0E829}" dt="2023-08-31T10:41:21.082" v="45611"/>
          <ac:graphicFrameMkLst>
            <pc:docMk/>
            <pc:sldMk cId="3551800317" sldId="316"/>
            <ac:graphicFrameMk id="73" creationId="{DB447276-FC64-257D-F014-16221627B7FA}"/>
          </ac:graphicFrameMkLst>
        </pc:graphicFrameChg>
        <pc:graphicFrameChg chg="add del mod replST">
          <ac:chgData name="Lim, Sharon" userId="9ed40bdc-079d-4cee-a990-4411351f7f9c" providerId="ADAL" clId="{DD93C774-82BE-4DBD-AB5E-BA44CCD0E829}" dt="2023-08-31T10:41:26.394" v="45733"/>
          <ac:graphicFrameMkLst>
            <pc:docMk/>
            <pc:sldMk cId="3551800317" sldId="316"/>
            <ac:graphicFrameMk id="75" creationId="{2665C688-FBF0-A5B4-2723-D3A27C1583D7}"/>
          </ac:graphicFrameMkLst>
        </pc:graphicFrameChg>
        <pc:graphicFrameChg chg="add del mod replST">
          <ac:chgData name="Lim, Sharon" userId="9ed40bdc-079d-4cee-a990-4411351f7f9c" providerId="ADAL" clId="{DD93C774-82BE-4DBD-AB5E-BA44CCD0E829}" dt="2023-08-31T10:41:34.305" v="45841"/>
          <ac:graphicFrameMkLst>
            <pc:docMk/>
            <pc:sldMk cId="3551800317" sldId="316"/>
            <ac:graphicFrameMk id="77" creationId="{8803352E-F67E-FF91-29D3-84EF199DFA59}"/>
          </ac:graphicFrameMkLst>
        </pc:graphicFrameChg>
        <pc:graphicFrameChg chg="add del mod replST">
          <ac:chgData name="Lim, Sharon" userId="9ed40bdc-079d-4cee-a990-4411351f7f9c" providerId="ADAL" clId="{DD93C774-82BE-4DBD-AB5E-BA44CCD0E829}" dt="2023-08-31T10:42:07.108" v="46011"/>
          <ac:graphicFrameMkLst>
            <pc:docMk/>
            <pc:sldMk cId="3551800317" sldId="316"/>
            <ac:graphicFrameMk id="79" creationId="{7821035D-A805-1475-3191-678345B89A45}"/>
          </ac:graphicFrameMkLst>
        </pc:graphicFrameChg>
        <pc:graphicFrameChg chg="add del mod replST">
          <ac:chgData name="Lim, Sharon" userId="9ed40bdc-079d-4cee-a990-4411351f7f9c" providerId="ADAL" clId="{DD93C774-82BE-4DBD-AB5E-BA44CCD0E829}" dt="2023-08-31T10:42:09.647" v="46124"/>
          <ac:graphicFrameMkLst>
            <pc:docMk/>
            <pc:sldMk cId="3551800317" sldId="316"/>
            <ac:graphicFrameMk id="83" creationId="{1248E587-CC3C-9E91-6CF6-11F3E9E0D948}"/>
          </ac:graphicFrameMkLst>
        </pc:graphicFrameChg>
        <pc:graphicFrameChg chg="add del mod replST">
          <ac:chgData name="Lim, Sharon" userId="9ed40bdc-079d-4cee-a990-4411351f7f9c" providerId="ADAL" clId="{DD93C774-82BE-4DBD-AB5E-BA44CCD0E829}" dt="2023-08-31T10:42:11.904" v="46236"/>
          <ac:graphicFrameMkLst>
            <pc:docMk/>
            <pc:sldMk cId="3551800317" sldId="316"/>
            <ac:graphicFrameMk id="86" creationId="{1B902CF7-6941-9643-4FD2-FAFC2CC1A966}"/>
          </ac:graphicFrameMkLst>
        </pc:graphicFrameChg>
        <pc:graphicFrameChg chg="add del mod replST">
          <ac:chgData name="Lim, Sharon" userId="9ed40bdc-079d-4cee-a990-4411351f7f9c" providerId="ADAL" clId="{DD93C774-82BE-4DBD-AB5E-BA44CCD0E829}" dt="2023-08-31T10:42:14.873" v="46354"/>
          <ac:graphicFrameMkLst>
            <pc:docMk/>
            <pc:sldMk cId="3551800317" sldId="316"/>
            <ac:graphicFrameMk id="88" creationId="{E67CBC0E-8A42-82CB-FB11-5A83B62BAB6D}"/>
          </ac:graphicFrameMkLst>
        </pc:graphicFrameChg>
        <pc:graphicFrameChg chg="add del mod replST">
          <ac:chgData name="Lim, Sharon" userId="9ed40bdc-079d-4cee-a990-4411351f7f9c" providerId="ADAL" clId="{DD93C774-82BE-4DBD-AB5E-BA44CCD0E829}" dt="2023-08-31T10:42:26.175" v="46521"/>
          <ac:graphicFrameMkLst>
            <pc:docMk/>
            <pc:sldMk cId="3551800317" sldId="316"/>
            <ac:graphicFrameMk id="90" creationId="{4C1AACB4-58E4-7DBC-AF4E-2F30E03067BF}"/>
          </ac:graphicFrameMkLst>
        </pc:graphicFrameChg>
        <pc:graphicFrameChg chg="add del mod replST">
          <ac:chgData name="Lim, Sharon" userId="9ed40bdc-079d-4cee-a990-4411351f7f9c" providerId="ADAL" clId="{DD93C774-82BE-4DBD-AB5E-BA44CCD0E829}" dt="2023-08-31T10:42:28.015" v="46611"/>
          <ac:graphicFrameMkLst>
            <pc:docMk/>
            <pc:sldMk cId="3551800317" sldId="316"/>
            <ac:graphicFrameMk id="93" creationId="{678BE768-2824-BE3B-4714-A4D78944227A}"/>
          </ac:graphicFrameMkLst>
        </pc:graphicFrameChg>
        <pc:graphicFrameChg chg="add del mod replST">
          <ac:chgData name="Lim, Sharon" userId="9ed40bdc-079d-4cee-a990-4411351f7f9c" providerId="ADAL" clId="{DD93C774-82BE-4DBD-AB5E-BA44CCD0E829}" dt="2023-08-31T10:42:45.472" v="46701"/>
          <ac:graphicFrameMkLst>
            <pc:docMk/>
            <pc:sldMk cId="3551800317" sldId="316"/>
            <ac:graphicFrameMk id="95" creationId="{9DB22404-F0C2-0FB0-964B-34D965F9EE4E}"/>
          </ac:graphicFrameMkLst>
        </pc:graphicFrameChg>
        <pc:graphicFrameChg chg="add del mod replST">
          <ac:chgData name="Lim, Sharon" userId="9ed40bdc-079d-4cee-a990-4411351f7f9c" providerId="ADAL" clId="{DD93C774-82BE-4DBD-AB5E-BA44CCD0E829}" dt="2023-08-31T10:42:48.914" v="46791"/>
          <ac:graphicFrameMkLst>
            <pc:docMk/>
            <pc:sldMk cId="3551800317" sldId="316"/>
            <ac:graphicFrameMk id="97" creationId="{9EA404CC-19F6-FC64-B50A-389689494739}"/>
          </ac:graphicFrameMkLst>
        </pc:graphicFrameChg>
        <pc:graphicFrameChg chg="add del mod replST">
          <ac:chgData name="Lim, Sharon" userId="9ed40bdc-079d-4cee-a990-4411351f7f9c" providerId="ADAL" clId="{DD93C774-82BE-4DBD-AB5E-BA44CCD0E829}" dt="2023-08-31T10:42:51.949" v="46881"/>
          <ac:graphicFrameMkLst>
            <pc:docMk/>
            <pc:sldMk cId="3551800317" sldId="316"/>
            <ac:graphicFrameMk id="99" creationId="{FAD0D4BB-A082-11BC-26C0-F9569A19E8F9}"/>
          </ac:graphicFrameMkLst>
        </pc:graphicFrameChg>
        <pc:graphicFrameChg chg="add del mod replST">
          <ac:chgData name="Lim, Sharon" userId="9ed40bdc-079d-4cee-a990-4411351f7f9c" providerId="ADAL" clId="{DD93C774-82BE-4DBD-AB5E-BA44CCD0E829}" dt="2023-08-31T10:42:57.249" v="46971"/>
          <ac:graphicFrameMkLst>
            <pc:docMk/>
            <pc:sldMk cId="3551800317" sldId="316"/>
            <ac:graphicFrameMk id="101" creationId="{9D5842AC-E516-ADAD-8403-847E813BEF18}"/>
          </ac:graphicFrameMkLst>
        </pc:graphicFrameChg>
        <pc:graphicFrameChg chg="add del mod replST">
          <ac:chgData name="Lim, Sharon" userId="9ed40bdc-079d-4cee-a990-4411351f7f9c" providerId="ADAL" clId="{DD93C774-82BE-4DBD-AB5E-BA44CCD0E829}" dt="2023-08-31T10:43:01.161" v="47061"/>
          <ac:graphicFrameMkLst>
            <pc:docMk/>
            <pc:sldMk cId="3551800317" sldId="316"/>
            <ac:graphicFrameMk id="103" creationId="{7C1F82DF-9664-3D2B-ED20-CF25147F957F}"/>
          </ac:graphicFrameMkLst>
        </pc:graphicFrameChg>
        <pc:graphicFrameChg chg="add del mod replST">
          <ac:chgData name="Lim, Sharon" userId="9ed40bdc-079d-4cee-a990-4411351f7f9c" providerId="ADAL" clId="{DD93C774-82BE-4DBD-AB5E-BA44CCD0E829}" dt="2023-08-31T10:43:04.871" v="47151"/>
          <ac:graphicFrameMkLst>
            <pc:docMk/>
            <pc:sldMk cId="3551800317" sldId="316"/>
            <ac:graphicFrameMk id="105" creationId="{E42870F7-C078-CB66-4CE9-C95DD260B262}"/>
          </ac:graphicFrameMkLst>
        </pc:graphicFrameChg>
        <pc:graphicFrameChg chg="add del mod replST">
          <ac:chgData name="Lim, Sharon" userId="9ed40bdc-079d-4cee-a990-4411351f7f9c" providerId="ADAL" clId="{DD93C774-82BE-4DBD-AB5E-BA44CCD0E829}" dt="2023-08-31T10:43:25.277" v="47241"/>
          <ac:graphicFrameMkLst>
            <pc:docMk/>
            <pc:sldMk cId="3551800317" sldId="316"/>
            <ac:graphicFrameMk id="107" creationId="{FAD65B7E-2EA2-2C5C-9CD2-D8C16EC21F5E}"/>
          </ac:graphicFrameMkLst>
        </pc:graphicFrameChg>
        <pc:graphicFrameChg chg="add del mod replST">
          <ac:chgData name="Lim, Sharon" userId="9ed40bdc-079d-4cee-a990-4411351f7f9c" providerId="ADAL" clId="{DD93C774-82BE-4DBD-AB5E-BA44CCD0E829}" dt="2023-08-31T10:43:28.705" v="47331"/>
          <ac:graphicFrameMkLst>
            <pc:docMk/>
            <pc:sldMk cId="3551800317" sldId="316"/>
            <ac:graphicFrameMk id="109" creationId="{B9B2E0F3-1E39-DCE7-E98A-6434C6ACE30B}"/>
          </ac:graphicFrameMkLst>
        </pc:graphicFrameChg>
        <pc:graphicFrameChg chg="add del mod replST">
          <ac:chgData name="Lim, Sharon" userId="9ed40bdc-079d-4cee-a990-4411351f7f9c" providerId="ADAL" clId="{DD93C774-82BE-4DBD-AB5E-BA44CCD0E829}" dt="2023-08-31T10:43:31.397" v="47421"/>
          <ac:graphicFrameMkLst>
            <pc:docMk/>
            <pc:sldMk cId="3551800317" sldId="316"/>
            <ac:graphicFrameMk id="111" creationId="{D58BED7F-1AA7-8103-6987-2902CBD49ADF}"/>
          </ac:graphicFrameMkLst>
        </pc:graphicFrameChg>
        <pc:graphicFrameChg chg="add del mod replST">
          <ac:chgData name="Lim, Sharon" userId="9ed40bdc-079d-4cee-a990-4411351f7f9c" providerId="ADAL" clId="{DD93C774-82BE-4DBD-AB5E-BA44CCD0E829}" dt="2023-08-31T10:43:34.288" v="47511"/>
          <ac:graphicFrameMkLst>
            <pc:docMk/>
            <pc:sldMk cId="3551800317" sldId="316"/>
            <ac:graphicFrameMk id="113" creationId="{26F17E88-555D-5A6D-2DC2-366333045CE9}"/>
          </ac:graphicFrameMkLst>
        </pc:graphicFrameChg>
        <pc:graphicFrameChg chg="add del mod replST">
          <ac:chgData name="Lim, Sharon" userId="9ed40bdc-079d-4cee-a990-4411351f7f9c" providerId="ADAL" clId="{DD93C774-82BE-4DBD-AB5E-BA44CCD0E829}" dt="2023-08-31T10:43:38.351" v="47601"/>
          <ac:graphicFrameMkLst>
            <pc:docMk/>
            <pc:sldMk cId="3551800317" sldId="316"/>
            <ac:graphicFrameMk id="115" creationId="{9F0CDC43-9164-C638-A4C9-643D45D375A2}"/>
          </ac:graphicFrameMkLst>
        </pc:graphicFrameChg>
        <pc:graphicFrameChg chg="add mod replST">
          <ac:chgData name="Lim, Sharon" userId="9ed40bdc-079d-4cee-a990-4411351f7f9c" providerId="ADAL" clId="{DD93C774-82BE-4DBD-AB5E-BA44CCD0E829}" dt="2023-08-31T10:43:38.442" v="47620"/>
          <ac:graphicFrameMkLst>
            <pc:docMk/>
            <pc:sldMk cId="3551800317" sldId="316"/>
            <ac:graphicFrameMk id="117" creationId="{D6E7A857-3BE3-1EB5-2AB9-DF58BD08B612}"/>
          </ac:graphicFrameMkLst>
        </pc:graphicFrameChg>
        <pc:cxnChg chg="add del mod ord replST">
          <ac:chgData name="Lim, Sharon" userId="9ed40bdc-079d-4cee-a990-4411351f7f9c" providerId="ADAL" clId="{DD93C774-82BE-4DBD-AB5E-BA44CCD0E829}" dt="2023-08-31T10:39:13.844" v="43601"/>
          <ac:cxnSpMkLst>
            <pc:docMk/>
            <pc:sldMk cId="3551800317" sldId="316"/>
            <ac:cxnSpMk id="15" creationId="{5A1767D6-84B6-CB7C-C5D4-7387A271E12B}"/>
          </ac:cxnSpMkLst>
        </pc:cxnChg>
        <pc:cxnChg chg="add del mod ord replST">
          <ac:chgData name="Lim, Sharon" userId="9ed40bdc-079d-4cee-a990-4411351f7f9c" providerId="ADAL" clId="{DD93C774-82BE-4DBD-AB5E-BA44CCD0E829}" dt="2023-08-31T10:39:55.618" v="44367"/>
          <ac:cxnSpMkLst>
            <pc:docMk/>
            <pc:sldMk cId="3551800317" sldId="316"/>
            <ac:cxnSpMk id="16" creationId="{143953B6-0ECE-F2DC-DA83-142D69BDC274}"/>
          </ac:cxnSpMkLst>
        </pc:cxnChg>
        <pc:cxnChg chg="add del mod ord replST">
          <ac:chgData name="Lim, Sharon" userId="9ed40bdc-079d-4cee-a990-4411351f7f9c" providerId="ADAL" clId="{DD93C774-82BE-4DBD-AB5E-BA44CCD0E829}" dt="2023-08-31T10:39:55.621" v="44370"/>
          <ac:cxnSpMkLst>
            <pc:docMk/>
            <pc:sldMk cId="3551800317" sldId="316"/>
            <ac:cxnSpMk id="17" creationId="{139BB49F-4173-B37A-E23F-22253F02F17E}"/>
          </ac:cxnSpMkLst>
        </pc:cxnChg>
        <pc:cxnChg chg="add del mod ord replST">
          <ac:chgData name="Lim, Sharon" userId="9ed40bdc-079d-4cee-a990-4411351f7f9c" providerId="ADAL" clId="{DD93C774-82BE-4DBD-AB5E-BA44CCD0E829}" dt="2023-08-31T10:39:55.622" v="44373"/>
          <ac:cxnSpMkLst>
            <pc:docMk/>
            <pc:sldMk cId="3551800317" sldId="316"/>
            <ac:cxnSpMk id="18" creationId="{AD5FA89D-B600-8E98-9D7D-F6D80A59B8EF}"/>
          </ac:cxnSpMkLst>
        </pc:cxnChg>
        <pc:cxnChg chg="add del mod ord replST">
          <ac:chgData name="Lim, Sharon" userId="9ed40bdc-079d-4cee-a990-4411351f7f9c" providerId="ADAL" clId="{DD93C774-82BE-4DBD-AB5E-BA44CCD0E829}" dt="2023-08-31T10:39:55.624" v="44376"/>
          <ac:cxnSpMkLst>
            <pc:docMk/>
            <pc:sldMk cId="3551800317" sldId="316"/>
            <ac:cxnSpMk id="19" creationId="{BDE454F1-6203-C81C-5E09-B0F2AB31F8A9}"/>
          </ac:cxnSpMkLst>
        </pc:cxnChg>
        <pc:cxnChg chg="add del mod ord replST">
          <ac:chgData name="Lim, Sharon" userId="9ed40bdc-079d-4cee-a990-4411351f7f9c" providerId="ADAL" clId="{DD93C774-82BE-4DBD-AB5E-BA44CCD0E829}" dt="2023-08-31T10:42:26.164" v="46495"/>
          <ac:cxnSpMkLst>
            <pc:docMk/>
            <pc:sldMk cId="3551800317" sldId="316"/>
            <ac:cxnSpMk id="58" creationId="{45B4D77F-549E-CACB-40E6-42AF127DCB8B}"/>
          </ac:cxnSpMkLst>
        </pc:cxnChg>
        <pc:cxnChg chg="add del mod ord replST">
          <ac:chgData name="Lim, Sharon" userId="9ed40bdc-079d-4cee-a990-4411351f7f9c" providerId="ADAL" clId="{DD93C774-82BE-4DBD-AB5E-BA44CCD0E829}" dt="2023-08-31T10:42:26.170" v="46509"/>
          <ac:cxnSpMkLst>
            <pc:docMk/>
            <pc:sldMk cId="3551800317" sldId="316"/>
            <ac:cxnSpMk id="59" creationId="{FA4693CA-78A8-5841-5248-9C3ABA235CF9}"/>
          </ac:cxnSpMkLst>
        </pc:cxnChg>
        <pc:cxnChg chg="add del mod ord replST">
          <ac:chgData name="Lim, Sharon" userId="9ed40bdc-079d-4cee-a990-4411351f7f9c" providerId="ADAL" clId="{DD93C774-82BE-4DBD-AB5E-BA44CCD0E829}" dt="2023-08-31T10:41:17.393" v="45455"/>
          <ac:cxnSpMkLst>
            <pc:docMk/>
            <pc:sldMk cId="3551800317" sldId="316"/>
            <ac:cxnSpMk id="62" creationId="{315D9474-6B8E-1FB1-130F-E31944A6EBDA}"/>
          </ac:cxnSpMkLst>
        </pc:cxnChg>
        <pc:cxnChg chg="add del mod ord replST">
          <ac:chgData name="Lim, Sharon" userId="9ed40bdc-079d-4cee-a990-4411351f7f9c" providerId="ADAL" clId="{DD93C774-82BE-4DBD-AB5E-BA44CCD0E829}" dt="2023-08-31T10:41:26.375" v="45707"/>
          <ac:cxnSpMkLst>
            <pc:docMk/>
            <pc:sldMk cId="3551800317" sldId="316"/>
            <ac:cxnSpMk id="63" creationId="{49BE10B2-8814-E033-7F57-758433C758DB}"/>
          </ac:cxnSpMkLst>
        </pc:cxnChg>
        <pc:cxnChg chg="add del mod ord replST">
          <ac:chgData name="Lim, Sharon" userId="9ed40bdc-079d-4cee-a990-4411351f7f9c" providerId="ADAL" clId="{DD93C774-82BE-4DBD-AB5E-BA44CCD0E829}" dt="2023-08-31T10:42:11.894" v="46220"/>
          <ac:cxnSpMkLst>
            <pc:docMk/>
            <pc:sldMk cId="3551800317" sldId="316"/>
            <ac:cxnSpMk id="64" creationId="{89632108-2D29-CD55-C616-8BD1260C82BB}"/>
          </ac:cxnSpMkLst>
        </pc:cxnChg>
        <pc:cxnChg chg="add mod ord replST">
          <ac:chgData name="Lim, Sharon" userId="9ed40bdc-079d-4cee-a990-4411351f7f9c" providerId="ADAL" clId="{DD93C774-82BE-4DBD-AB5E-BA44CCD0E829}" dt="2023-08-31T10:43:38.444" v="47622"/>
          <ac:cxnSpMkLst>
            <pc:docMk/>
            <pc:sldMk cId="3551800317" sldId="316"/>
            <ac:cxnSpMk id="65" creationId="{F100D043-75D9-A212-6A22-E2938BAAE60E}"/>
          </ac:cxnSpMkLst>
        </pc:cxnChg>
        <pc:cxnChg chg="add mod ord replST">
          <ac:chgData name="Lim, Sharon" userId="9ed40bdc-079d-4cee-a990-4411351f7f9c" providerId="ADAL" clId="{DD93C774-82BE-4DBD-AB5E-BA44CCD0E829}" dt="2023-08-31T10:43:38.447" v="47624"/>
          <ac:cxnSpMkLst>
            <pc:docMk/>
            <pc:sldMk cId="3551800317" sldId="316"/>
            <ac:cxnSpMk id="66" creationId="{05EDC53B-F3A5-CCC7-0671-DAE20116D6D1}"/>
          </ac:cxnSpMkLst>
        </pc:cxnChg>
        <pc:cxnChg chg="add del mod ord replST">
          <ac:chgData name="Lim, Sharon" userId="9ed40bdc-079d-4cee-a990-4411351f7f9c" providerId="ADAL" clId="{DD93C774-82BE-4DBD-AB5E-BA44CCD0E829}" dt="2023-08-31T10:41:21.081" v="45609"/>
          <ac:cxnSpMkLst>
            <pc:docMk/>
            <pc:sldMk cId="3551800317" sldId="316"/>
            <ac:cxnSpMk id="69" creationId="{44D13DAE-C644-1B6E-3DF5-B6D6DB7A43C3}"/>
          </ac:cxnSpMkLst>
        </pc:cxnChg>
        <pc:cxnChg chg="add del mod ord replST">
          <ac:chgData name="Lim, Sharon" userId="9ed40bdc-079d-4cee-a990-4411351f7f9c" providerId="ADAL" clId="{DD93C774-82BE-4DBD-AB5E-BA44CCD0E829}" dt="2023-08-31T10:41:21.081" v="45607"/>
          <ac:cxnSpMkLst>
            <pc:docMk/>
            <pc:sldMk cId="3551800317" sldId="316"/>
            <ac:cxnSpMk id="70" creationId="{86E0D9FC-1532-62D6-F817-710CC966452B}"/>
          </ac:cxnSpMkLst>
        </pc:cxnChg>
        <pc:cxnChg chg="add del mod ord replST">
          <ac:chgData name="Lim, Sharon" userId="9ed40bdc-079d-4cee-a990-4411351f7f9c" providerId="ADAL" clId="{DD93C774-82BE-4DBD-AB5E-BA44CCD0E829}" dt="2023-08-31T10:41:34.296" v="45825"/>
          <ac:cxnSpMkLst>
            <pc:docMk/>
            <pc:sldMk cId="3551800317" sldId="316"/>
            <ac:cxnSpMk id="71" creationId="{DFAEF7C1-E02E-2108-01D4-7AE5C50E7653}"/>
          </ac:cxnSpMkLst>
        </pc:cxnChg>
        <pc:cxnChg chg="add del mod ord replST">
          <ac:chgData name="Lim, Sharon" userId="9ed40bdc-079d-4cee-a990-4411351f7f9c" providerId="ADAL" clId="{DD93C774-82BE-4DBD-AB5E-BA44CCD0E829}" dt="2023-08-31T10:42:14.865" v="46338"/>
          <ac:cxnSpMkLst>
            <pc:docMk/>
            <pc:sldMk cId="3551800317" sldId="316"/>
            <ac:cxnSpMk id="72" creationId="{74920DB7-5F07-2F8A-1B40-0EDE49A26F20}"/>
          </ac:cxnSpMkLst>
        </pc:cxnChg>
        <pc:cxnChg chg="add mod ord replST">
          <ac:chgData name="Lim, Sharon" userId="9ed40bdc-079d-4cee-a990-4411351f7f9c" providerId="ADAL" clId="{DD93C774-82BE-4DBD-AB5E-BA44CCD0E829}" dt="2023-08-31T10:43:38.448" v="47626"/>
          <ac:cxnSpMkLst>
            <pc:docMk/>
            <pc:sldMk cId="3551800317" sldId="316"/>
            <ac:cxnSpMk id="81" creationId="{5CBCD235-8410-C624-2304-052D83C0D4A3}"/>
          </ac:cxnSpMkLst>
        </pc:cxnChg>
        <pc:cxnChg chg="add mod ord replST">
          <ac:chgData name="Lim, Sharon" userId="9ed40bdc-079d-4cee-a990-4411351f7f9c" providerId="ADAL" clId="{DD93C774-82BE-4DBD-AB5E-BA44CCD0E829}" dt="2023-08-31T10:43:38.449" v="47628"/>
          <ac:cxnSpMkLst>
            <pc:docMk/>
            <pc:sldMk cId="3551800317" sldId="316"/>
            <ac:cxnSpMk id="82" creationId="{3FCFA8DB-88B8-DC28-5FE1-D6E70898FDEE}"/>
          </ac:cxnSpMkLst>
        </pc:cxnChg>
        <pc:cxnChg chg="add mod ord replST">
          <ac:chgData name="Lim, Sharon" userId="9ed40bdc-079d-4cee-a990-4411351f7f9c" providerId="ADAL" clId="{DD93C774-82BE-4DBD-AB5E-BA44CCD0E829}" dt="2023-08-31T10:43:38.451" v="47630"/>
          <ac:cxnSpMkLst>
            <pc:docMk/>
            <pc:sldMk cId="3551800317" sldId="316"/>
            <ac:cxnSpMk id="85" creationId="{5FFF2E5F-A015-5A56-8BE4-412B1B813846}"/>
          </ac:cxnSpMkLst>
        </pc:cxnChg>
        <pc:cxnChg chg="add mod ord replST">
          <ac:chgData name="Lim, Sharon" userId="9ed40bdc-079d-4cee-a990-4411351f7f9c" providerId="ADAL" clId="{DD93C774-82BE-4DBD-AB5E-BA44CCD0E829}" dt="2023-08-31T10:43:38.453" v="47632"/>
          <ac:cxnSpMkLst>
            <pc:docMk/>
            <pc:sldMk cId="3551800317" sldId="316"/>
            <ac:cxnSpMk id="92" creationId="{40FF8AAC-FC16-5F49-E0F3-BE3B78905AD9}"/>
          </ac:cxnSpMkLst>
        </pc:cxnChg>
      </pc:sldChg>
      <pc:sldChg chg="add del">
        <pc:chgData name="Lim, Sharon" userId="9ed40bdc-079d-4cee-a990-4411351f7f9c" providerId="ADAL" clId="{DD93C774-82BE-4DBD-AB5E-BA44CCD0E829}" dt="2023-08-31T08:52:01.255" v="9548" actId="47"/>
        <pc:sldMkLst>
          <pc:docMk/>
          <pc:sldMk cId="2864617877" sldId="317"/>
        </pc:sldMkLst>
      </pc:sldChg>
      <pc:sldChg chg="modSp add del mod ord">
        <pc:chgData name="Lim, Sharon" userId="9ed40bdc-079d-4cee-a990-4411351f7f9c" providerId="ADAL" clId="{DD93C774-82BE-4DBD-AB5E-BA44CCD0E829}" dt="2023-08-31T08:56:00.531" v="9756"/>
        <pc:sldMkLst>
          <pc:docMk/>
          <pc:sldMk cId="3396279940" sldId="317"/>
        </pc:sldMkLst>
        <pc:spChg chg="mod">
          <ac:chgData name="Lim, Sharon" userId="9ed40bdc-079d-4cee-a990-4411351f7f9c" providerId="ADAL" clId="{DD93C774-82BE-4DBD-AB5E-BA44CCD0E829}" dt="2023-08-31T08:52:13.395" v="9584" actId="20577"/>
          <ac:spMkLst>
            <pc:docMk/>
            <pc:sldMk cId="3396279940" sldId="317"/>
            <ac:spMk id="6" creationId="{4B57D8F3-220C-771F-0C3D-FA903D1E5FB1}"/>
          </ac:spMkLst>
        </pc:spChg>
        <pc:graphicFrameChg chg="mod">
          <ac:chgData name="Lim, Sharon" userId="9ed40bdc-079d-4cee-a990-4411351f7f9c" providerId="ADAL" clId="{DD93C774-82BE-4DBD-AB5E-BA44CCD0E829}" dt="2023-08-31T08:56:00.531" v="9756"/>
          <ac:graphicFrameMkLst>
            <pc:docMk/>
            <pc:sldMk cId="3396279940" sldId="317"/>
            <ac:graphicFrameMk id="5" creationId="{25911382-3FB8-73E1-9B53-7B58EEE2ECA0}"/>
          </ac:graphicFrameMkLst>
        </pc:graphicFrameChg>
      </pc:sldChg>
      <pc:sldChg chg="addSp modSp add mod ord">
        <pc:chgData name="Lim, Sharon" userId="9ed40bdc-079d-4cee-a990-4411351f7f9c" providerId="ADAL" clId="{DD93C774-82BE-4DBD-AB5E-BA44CCD0E829}" dt="2023-09-01T02:42:47.970" v="66378" actId="20577"/>
        <pc:sldMkLst>
          <pc:docMk/>
          <pc:sldMk cId="3687526279" sldId="318"/>
        </pc:sldMkLst>
        <pc:spChg chg="mod">
          <ac:chgData name="Lim, Sharon" userId="9ed40bdc-079d-4cee-a990-4411351f7f9c" providerId="ADAL" clId="{DD93C774-82BE-4DBD-AB5E-BA44CCD0E829}" dt="2023-08-31T08:53:03.415" v="9677" actId="20577"/>
          <ac:spMkLst>
            <pc:docMk/>
            <pc:sldMk cId="3687526279" sldId="318"/>
            <ac:spMk id="5" creationId="{9727673B-8413-CCDC-BA64-7D07EAE62EA3}"/>
          </ac:spMkLst>
        </pc:spChg>
        <pc:spChg chg="mod">
          <ac:chgData name="Lim, Sharon" userId="9ed40bdc-079d-4cee-a990-4411351f7f9c" providerId="ADAL" clId="{DD93C774-82BE-4DBD-AB5E-BA44CCD0E829}" dt="2023-09-01T02:07:01.382" v="65731" actId="1076"/>
          <ac:spMkLst>
            <pc:docMk/>
            <pc:sldMk cId="3687526279" sldId="318"/>
            <ac:spMk id="6" creationId="{95F89051-279F-98F0-F3A3-E8717CF3EC24}"/>
          </ac:spMkLst>
        </pc:spChg>
        <pc:spChg chg="add mod">
          <ac:chgData name="Lim, Sharon" userId="9ed40bdc-079d-4cee-a990-4411351f7f9c" providerId="ADAL" clId="{DD93C774-82BE-4DBD-AB5E-BA44CCD0E829}" dt="2023-09-01T02:07:01.382" v="65731" actId="1076"/>
          <ac:spMkLst>
            <pc:docMk/>
            <pc:sldMk cId="3687526279" sldId="318"/>
            <ac:spMk id="7" creationId="{B4F155E1-F046-0408-F0EA-8D15FDE754B7}"/>
          </ac:spMkLst>
        </pc:spChg>
        <pc:spChg chg="add mod">
          <ac:chgData name="Lim, Sharon" userId="9ed40bdc-079d-4cee-a990-4411351f7f9c" providerId="ADAL" clId="{DD93C774-82BE-4DBD-AB5E-BA44CCD0E829}" dt="2023-09-01T02:42:47.970" v="66378" actId="20577"/>
          <ac:spMkLst>
            <pc:docMk/>
            <pc:sldMk cId="3687526279" sldId="318"/>
            <ac:spMk id="8" creationId="{67A52A96-7436-93B0-EB70-4AE9E262829A}"/>
          </ac:spMkLst>
        </pc:spChg>
        <pc:picChg chg="mod">
          <ac:chgData name="Lim, Sharon" userId="9ed40bdc-079d-4cee-a990-4411351f7f9c" providerId="ADAL" clId="{DD93C774-82BE-4DBD-AB5E-BA44CCD0E829}" dt="2023-09-01T01:30:23.844" v="64340" actId="1076"/>
          <ac:picMkLst>
            <pc:docMk/>
            <pc:sldMk cId="3687526279" sldId="318"/>
            <ac:picMk id="3" creationId="{C9F8E9EB-CE98-B1AD-91EE-15EF1A00786E}"/>
          </ac:picMkLst>
        </pc:picChg>
      </pc:sldChg>
      <pc:sldChg chg="addSp delSp modSp add mod">
        <pc:chgData name="Lim, Sharon" userId="9ed40bdc-079d-4cee-a990-4411351f7f9c" providerId="ADAL" clId="{DD93C774-82BE-4DBD-AB5E-BA44CCD0E829}" dt="2023-09-01T02:42:52.832" v="66379"/>
        <pc:sldMkLst>
          <pc:docMk/>
          <pc:sldMk cId="564263708" sldId="319"/>
        </pc:sldMkLst>
        <pc:spChg chg="mod">
          <ac:chgData name="Lim, Sharon" userId="9ed40bdc-079d-4cee-a990-4411351f7f9c" providerId="ADAL" clId="{DD93C774-82BE-4DBD-AB5E-BA44CCD0E829}" dt="2023-08-31T08:53:09.633" v="9687" actId="20577"/>
          <ac:spMkLst>
            <pc:docMk/>
            <pc:sldMk cId="564263708" sldId="319"/>
            <ac:spMk id="5" creationId="{9727673B-8413-CCDC-BA64-7D07EAE62EA3}"/>
          </ac:spMkLst>
        </pc:spChg>
        <pc:spChg chg="mod">
          <ac:chgData name="Lim, Sharon" userId="9ed40bdc-079d-4cee-a990-4411351f7f9c" providerId="ADAL" clId="{DD93C774-82BE-4DBD-AB5E-BA44CCD0E829}" dt="2023-09-01T02:06:52.587" v="65729" actId="1076"/>
          <ac:spMkLst>
            <pc:docMk/>
            <pc:sldMk cId="564263708" sldId="319"/>
            <ac:spMk id="6" creationId="{95F89051-279F-98F0-F3A3-E8717CF3EC24}"/>
          </ac:spMkLst>
        </pc:spChg>
        <pc:spChg chg="del mod">
          <ac:chgData name="Lim, Sharon" userId="9ed40bdc-079d-4cee-a990-4411351f7f9c" providerId="ADAL" clId="{DD93C774-82BE-4DBD-AB5E-BA44CCD0E829}" dt="2023-09-01T01:29:05.141" v="64316" actId="478"/>
          <ac:spMkLst>
            <pc:docMk/>
            <pc:sldMk cId="564263708" sldId="319"/>
            <ac:spMk id="7" creationId="{ADC72016-FA74-D6EC-F73D-792EF857AD5F}"/>
          </ac:spMkLst>
        </pc:spChg>
        <pc:spChg chg="add mod">
          <ac:chgData name="Lim, Sharon" userId="9ed40bdc-079d-4cee-a990-4411351f7f9c" providerId="ADAL" clId="{DD93C774-82BE-4DBD-AB5E-BA44CCD0E829}" dt="2023-09-01T01:29:03.295" v="64315" actId="20577"/>
          <ac:spMkLst>
            <pc:docMk/>
            <pc:sldMk cId="564263708" sldId="319"/>
            <ac:spMk id="8" creationId="{085A59E7-5E46-AE83-14D4-01FF98F120FE}"/>
          </ac:spMkLst>
        </pc:spChg>
        <pc:spChg chg="add del mod">
          <ac:chgData name="Lim, Sharon" userId="9ed40bdc-079d-4cee-a990-4411351f7f9c" providerId="ADAL" clId="{DD93C774-82BE-4DBD-AB5E-BA44CCD0E829}" dt="2023-09-01T01:29:41.589" v="64330" actId="478"/>
          <ac:spMkLst>
            <pc:docMk/>
            <pc:sldMk cId="564263708" sldId="319"/>
            <ac:spMk id="9" creationId="{494FCB92-3BD4-718C-F872-8ABEAA73498E}"/>
          </ac:spMkLst>
        </pc:spChg>
        <pc:spChg chg="add mod">
          <ac:chgData name="Lim, Sharon" userId="9ed40bdc-079d-4cee-a990-4411351f7f9c" providerId="ADAL" clId="{DD93C774-82BE-4DBD-AB5E-BA44CCD0E829}" dt="2023-09-01T02:42:52.832" v="66379"/>
          <ac:spMkLst>
            <pc:docMk/>
            <pc:sldMk cId="564263708" sldId="319"/>
            <ac:spMk id="10" creationId="{35E737B0-D874-B739-6A09-9E02A27187F7}"/>
          </ac:spMkLst>
        </pc:spChg>
        <pc:picChg chg="mod">
          <ac:chgData name="Lim, Sharon" userId="9ed40bdc-079d-4cee-a990-4411351f7f9c" providerId="ADAL" clId="{DD93C774-82BE-4DBD-AB5E-BA44CCD0E829}" dt="2023-09-01T01:30:03.934" v="64338" actId="14100"/>
          <ac:picMkLst>
            <pc:docMk/>
            <pc:sldMk cId="564263708" sldId="319"/>
            <ac:picMk id="3" creationId="{3B61F8B7-0358-1040-2656-8718D072E09E}"/>
          </ac:picMkLst>
        </pc:picChg>
      </pc:sldChg>
      <pc:sldChg chg="modSp add del mod ord">
        <pc:chgData name="Lim, Sharon" userId="9ed40bdc-079d-4cee-a990-4411351f7f9c" providerId="ADAL" clId="{DD93C774-82BE-4DBD-AB5E-BA44CCD0E829}" dt="2023-08-31T08:53:45.167" v="9708" actId="47"/>
        <pc:sldMkLst>
          <pc:docMk/>
          <pc:sldMk cId="3380364990" sldId="320"/>
        </pc:sldMkLst>
        <pc:spChg chg="mod">
          <ac:chgData name="Lim, Sharon" userId="9ed40bdc-079d-4cee-a990-4411351f7f9c" providerId="ADAL" clId="{DD93C774-82BE-4DBD-AB5E-BA44CCD0E829}" dt="2023-08-31T08:53:23.887" v="9704" actId="20577"/>
          <ac:spMkLst>
            <pc:docMk/>
            <pc:sldMk cId="3380364990" sldId="320"/>
            <ac:spMk id="6" creationId="{4B57D8F3-220C-771F-0C3D-FA903D1E5FB1}"/>
          </ac:spMkLst>
        </pc:spChg>
      </pc:sldChg>
      <pc:sldChg chg="add del ord">
        <pc:chgData name="Lim, Sharon" userId="9ed40bdc-079d-4cee-a990-4411351f7f9c" providerId="ADAL" clId="{DD93C774-82BE-4DBD-AB5E-BA44CCD0E829}" dt="2023-08-31T08:56:23.418" v="9785" actId="47"/>
        <pc:sldMkLst>
          <pc:docMk/>
          <pc:sldMk cId="2711273691" sldId="321"/>
        </pc:sldMkLst>
      </pc:sldChg>
      <pc:sldChg chg="addSp delSp modSp add mod">
        <pc:chgData name="Lim, Sharon" userId="9ed40bdc-079d-4cee-a990-4411351f7f9c" providerId="ADAL" clId="{DD93C774-82BE-4DBD-AB5E-BA44CCD0E829}" dt="2023-09-01T02:42:55.494" v="66380"/>
        <pc:sldMkLst>
          <pc:docMk/>
          <pc:sldMk cId="153669549" sldId="322"/>
        </pc:sldMkLst>
        <pc:spChg chg="add mod">
          <ac:chgData name="Lim, Sharon" userId="9ed40bdc-079d-4cee-a990-4411351f7f9c" providerId="ADAL" clId="{DD93C774-82BE-4DBD-AB5E-BA44CCD0E829}" dt="2023-09-01T02:07:20.347" v="65741" actId="20577"/>
          <ac:spMkLst>
            <pc:docMk/>
            <pc:sldMk cId="153669549" sldId="322"/>
            <ac:spMk id="3" creationId="{57DFA494-0F0A-695C-53FF-6D7F8325F9F7}"/>
          </ac:spMkLst>
        </pc:spChg>
        <pc:spChg chg="mod">
          <ac:chgData name="Lim, Sharon" userId="9ed40bdc-079d-4cee-a990-4411351f7f9c" providerId="ADAL" clId="{DD93C774-82BE-4DBD-AB5E-BA44CCD0E829}" dt="2023-08-31T08:56:21.367" v="9784" actId="20577"/>
          <ac:spMkLst>
            <pc:docMk/>
            <pc:sldMk cId="153669549" sldId="322"/>
            <ac:spMk id="5" creationId="{9727673B-8413-CCDC-BA64-7D07EAE62EA3}"/>
          </ac:spMkLst>
        </pc:spChg>
        <pc:spChg chg="del">
          <ac:chgData name="Lim, Sharon" userId="9ed40bdc-079d-4cee-a990-4411351f7f9c" providerId="ADAL" clId="{DD93C774-82BE-4DBD-AB5E-BA44CCD0E829}" dt="2023-09-01T02:07:21.668" v="65742" actId="478"/>
          <ac:spMkLst>
            <pc:docMk/>
            <pc:sldMk cId="153669549" sldId="322"/>
            <ac:spMk id="7" creationId="{237EF3C4-70A9-7A21-6394-347309BD885D}"/>
          </ac:spMkLst>
        </pc:spChg>
        <pc:spChg chg="mod">
          <ac:chgData name="Lim, Sharon" userId="9ed40bdc-079d-4cee-a990-4411351f7f9c" providerId="ADAL" clId="{DD93C774-82BE-4DBD-AB5E-BA44CCD0E829}" dt="2023-09-01T02:07:25.996" v="65743" actId="1076"/>
          <ac:spMkLst>
            <pc:docMk/>
            <pc:sldMk cId="153669549" sldId="322"/>
            <ac:spMk id="8" creationId="{CCDF19B3-6AFA-6D12-BD9B-04797F0B4724}"/>
          </ac:spMkLst>
        </pc:spChg>
        <pc:spChg chg="add mod">
          <ac:chgData name="Lim, Sharon" userId="9ed40bdc-079d-4cee-a990-4411351f7f9c" providerId="ADAL" clId="{DD93C774-82BE-4DBD-AB5E-BA44CCD0E829}" dt="2023-09-01T02:42:55.494" v="66380"/>
          <ac:spMkLst>
            <pc:docMk/>
            <pc:sldMk cId="153669549" sldId="322"/>
            <ac:spMk id="9" creationId="{6D948C22-3F9C-DCC3-5B00-7CC81F9EA26E}"/>
          </ac:spMkLst>
        </pc:spChg>
        <pc:picChg chg="mod">
          <ac:chgData name="Lim, Sharon" userId="9ed40bdc-079d-4cee-a990-4411351f7f9c" providerId="ADAL" clId="{DD93C774-82BE-4DBD-AB5E-BA44CCD0E829}" dt="2023-09-01T02:07:38.785" v="65744" actId="14100"/>
          <ac:picMkLst>
            <pc:docMk/>
            <pc:sldMk cId="153669549" sldId="322"/>
            <ac:picMk id="2" creationId="{DA4D55D7-3106-70EA-965F-55D728F28D3D}"/>
          </ac:picMkLst>
        </pc:picChg>
      </pc:sldChg>
      <pc:sldChg chg="modSp add mod">
        <pc:chgData name="Lim, Sharon" userId="9ed40bdc-079d-4cee-a990-4411351f7f9c" providerId="ADAL" clId="{DD93C774-82BE-4DBD-AB5E-BA44CCD0E829}" dt="2023-08-31T08:56:34.656" v="9800" actId="20577"/>
        <pc:sldMkLst>
          <pc:docMk/>
          <pc:sldMk cId="2164351939" sldId="323"/>
        </pc:sldMkLst>
        <pc:spChg chg="mod">
          <ac:chgData name="Lim, Sharon" userId="9ed40bdc-079d-4cee-a990-4411351f7f9c" providerId="ADAL" clId="{DD93C774-82BE-4DBD-AB5E-BA44CCD0E829}" dt="2023-08-31T08:56:34.656" v="9800" actId="20577"/>
          <ac:spMkLst>
            <pc:docMk/>
            <pc:sldMk cId="2164351939" sldId="323"/>
            <ac:spMk id="6" creationId="{4B57D8F3-220C-771F-0C3D-FA903D1E5FB1}"/>
          </ac:spMkLst>
        </pc:spChg>
      </pc:sldChg>
      <pc:sldChg chg="addSp delSp modSp add mod ord modNotesTx">
        <pc:chgData name="Lim, Sharon" userId="9ed40bdc-079d-4cee-a990-4411351f7f9c" providerId="ADAL" clId="{DD93C774-82BE-4DBD-AB5E-BA44CCD0E829}" dt="2023-09-01T04:27:09.317" v="67525"/>
        <pc:sldMkLst>
          <pc:docMk/>
          <pc:sldMk cId="521529827" sldId="324"/>
        </pc:sldMkLst>
        <pc:spChg chg="add mod">
          <ac:chgData name="Lim, Sharon" userId="9ed40bdc-079d-4cee-a990-4411351f7f9c" providerId="ADAL" clId="{DD93C774-82BE-4DBD-AB5E-BA44CCD0E829}" dt="2023-09-01T00:59:24.181" v="64185" actId="1076"/>
          <ac:spMkLst>
            <pc:docMk/>
            <pc:sldMk cId="521529827" sldId="324"/>
            <ac:spMk id="2" creationId="{16D8D766-758F-301E-80BE-0190C0ED4A60}"/>
          </ac:spMkLst>
        </pc:spChg>
        <pc:spChg chg="add mod">
          <ac:chgData name="Lim, Sharon" userId="9ed40bdc-079d-4cee-a990-4411351f7f9c" providerId="ADAL" clId="{DD93C774-82BE-4DBD-AB5E-BA44CCD0E829}" dt="2023-09-01T03:49:45.919" v="67358" actId="20577"/>
          <ac:spMkLst>
            <pc:docMk/>
            <pc:sldMk cId="521529827" sldId="324"/>
            <ac:spMk id="3" creationId="{F057510B-D0FD-F91B-16F0-617562C3E7D2}"/>
          </ac:spMkLst>
        </pc:spChg>
        <pc:spChg chg="mod">
          <ac:chgData name="Lim, Sharon" userId="9ed40bdc-079d-4cee-a990-4411351f7f9c" providerId="ADAL" clId="{DD93C774-82BE-4DBD-AB5E-BA44CCD0E829}" dt="2023-08-31T08:57:12.473" v="9882" actId="20577"/>
          <ac:spMkLst>
            <pc:docMk/>
            <pc:sldMk cId="521529827" sldId="324"/>
            <ac:spMk id="5" creationId="{9727673B-8413-CCDC-BA64-7D07EAE62EA3}"/>
          </ac:spMkLst>
        </pc:spChg>
        <pc:spChg chg="del">
          <ac:chgData name="Lim, Sharon" userId="9ed40bdc-079d-4cee-a990-4411351f7f9c" providerId="ADAL" clId="{DD93C774-82BE-4DBD-AB5E-BA44CCD0E829}" dt="2023-09-01T00:59:19.534" v="64184" actId="478"/>
          <ac:spMkLst>
            <pc:docMk/>
            <pc:sldMk cId="521529827" sldId="324"/>
            <ac:spMk id="6" creationId="{95F89051-279F-98F0-F3A3-E8717CF3EC24}"/>
          </ac:spMkLst>
        </pc:spChg>
        <pc:spChg chg="add del mod">
          <ac:chgData name="Lim, Sharon" userId="9ed40bdc-079d-4cee-a990-4411351f7f9c" providerId="ADAL" clId="{DD93C774-82BE-4DBD-AB5E-BA44CCD0E829}" dt="2023-09-01T00:59:50.911" v="64200" actId="478"/>
          <ac:spMkLst>
            <pc:docMk/>
            <pc:sldMk cId="521529827" sldId="324"/>
            <ac:spMk id="7" creationId="{A4B0B588-87B7-94BA-16A2-E5CF67B5FE5B}"/>
          </ac:spMkLst>
        </pc:spChg>
        <pc:spChg chg="add del mod">
          <ac:chgData name="Lim, Sharon" userId="9ed40bdc-079d-4cee-a990-4411351f7f9c" providerId="ADAL" clId="{DD93C774-82BE-4DBD-AB5E-BA44CCD0E829}" dt="2023-09-01T00:59:38.963" v="64193"/>
          <ac:spMkLst>
            <pc:docMk/>
            <pc:sldMk cId="521529827" sldId="324"/>
            <ac:spMk id="8" creationId="{7CFCCD4D-BF2C-70C0-1809-DEFA2F1327C3}"/>
          </ac:spMkLst>
        </pc:spChg>
        <pc:spChg chg="mod">
          <ac:chgData name="Lim, Sharon" userId="9ed40bdc-079d-4cee-a990-4411351f7f9c" providerId="ADAL" clId="{DD93C774-82BE-4DBD-AB5E-BA44CCD0E829}" dt="2023-09-01T01:00:07.332" v="64205" actId="14100"/>
          <ac:spMkLst>
            <pc:docMk/>
            <pc:sldMk cId="521529827" sldId="324"/>
            <ac:spMk id="10" creationId="{E1F7F319-4363-71E1-4051-AA118C92031B}"/>
          </ac:spMkLst>
        </pc:spChg>
        <pc:spChg chg="mod">
          <ac:chgData name="Lim, Sharon" userId="9ed40bdc-079d-4cee-a990-4411351f7f9c" providerId="ADAL" clId="{DD93C774-82BE-4DBD-AB5E-BA44CCD0E829}" dt="2023-09-01T01:00:07.332" v="64205" actId="14100"/>
          <ac:spMkLst>
            <pc:docMk/>
            <pc:sldMk cId="521529827" sldId="324"/>
            <ac:spMk id="11" creationId="{EEF158C6-DB4B-C825-3AF8-ABFA80635A45}"/>
          </ac:spMkLst>
        </pc:spChg>
        <pc:spChg chg="mod">
          <ac:chgData name="Lim, Sharon" userId="9ed40bdc-079d-4cee-a990-4411351f7f9c" providerId="ADAL" clId="{DD93C774-82BE-4DBD-AB5E-BA44CCD0E829}" dt="2023-09-01T01:00:07.332" v="64205" actId="14100"/>
          <ac:spMkLst>
            <pc:docMk/>
            <pc:sldMk cId="521529827" sldId="324"/>
            <ac:spMk id="12" creationId="{9A4BF9C7-AD45-71EC-D1B7-36ACD337951E}"/>
          </ac:spMkLst>
        </pc:spChg>
        <pc:spChg chg="mod">
          <ac:chgData name="Lim, Sharon" userId="9ed40bdc-079d-4cee-a990-4411351f7f9c" providerId="ADAL" clId="{DD93C774-82BE-4DBD-AB5E-BA44CCD0E829}" dt="2023-09-01T01:00:07.332" v="64205" actId="14100"/>
          <ac:spMkLst>
            <pc:docMk/>
            <pc:sldMk cId="521529827" sldId="324"/>
            <ac:spMk id="13" creationId="{EA64F4D2-9BFF-28FE-83A2-6C7412840012}"/>
          </ac:spMkLst>
        </pc:spChg>
        <pc:spChg chg="add mod">
          <ac:chgData name="Lim, Sharon" userId="9ed40bdc-079d-4cee-a990-4411351f7f9c" providerId="ADAL" clId="{DD93C774-82BE-4DBD-AB5E-BA44CCD0E829}" dt="2023-09-01T01:23:35.723" v="64258" actId="1076"/>
          <ac:spMkLst>
            <pc:docMk/>
            <pc:sldMk cId="521529827" sldId="324"/>
            <ac:spMk id="14" creationId="{E8CE8FBE-9EE0-E543-7446-69095E4AA3BB}"/>
          </ac:spMkLst>
        </pc:spChg>
        <pc:spChg chg="add mod">
          <ac:chgData name="Lim, Sharon" userId="9ed40bdc-079d-4cee-a990-4411351f7f9c" providerId="ADAL" clId="{DD93C774-82BE-4DBD-AB5E-BA44CCD0E829}" dt="2023-09-01T01:23:39.788" v="64262" actId="1036"/>
          <ac:spMkLst>
            <pc:docMk/>
            <pc:sldMk cId="521529827" sldId="324"/>
            <ac:spMk id="15" creationId="{F120572C-798F-1FA4-C4B8-EB6E83B05725}"/>
          </ac:spMkLst>
        </pc:spChg>
        <pc:spChg chg="add mod">
          <ac:chgData name="Lim, Sharon" userId="9ed40bdc-079d-4cee-a990-4411351f7f9c" providerId="ADAL" clId="{DD93C774-82BE-4DBD-AB5E-BA44CCD0E829}" dt="2023-09-01T01:24:20.068" v="64283" actId="20577"/>
          <ac:spMkLst>
            <pc:docMk/>
            <pc:sldMk cId="521529827" sldId="324"/>
            <ac:spMk id="16" creationId="{0C93A478-12A3-290A-79AD-B504C57FA36B}"/>
          </ac:spMkLst>
        </pc:spChg>
        <pc:spChg chg="add mod">
          <ac:chgData name="Lim, Sharon" userId="9ed40bdc-079d-4cee-a990-4411351f7f9c" providerId="ADAL" clId="{DD93C774-82BE-4DBD-AB5E-BA44CCD0E829}" dt="2023-09-01T02:44:13.812" v="66390" actId="20577"/>
          <ac:spMkLst>
            <pc:docMk/>
            <pc:sldMk cId="521529827" sldId="324"/>
            <ac:spMk id="17" creationId="{003CE1E2-1693-D2B7-0BF7-B6E24A0F6EA9}"/>
          </ac:spMkLst>
        </pc:spChg>
        <pc:grpChg chg="add mod">
          <ac:chgData name="Lim, Sharon" userId="9ed40bdc-079d-4cee-a990-4411351f7f9c" providerId="ADAL" clId="{DD93C774-82BE-4DBD-AB5E-BA44CCD0E829}" dt="2023-09-01T01:00:45.202" v="64206" actId="207"/>
          <ac:grpSpMkLst>
            <pc:docMk/>
            <pc:sldMk cId="521529827" sldId="324"/>
            <ac:grpSpMk id="9" creationId="{CF6DBEA7-C66B-434E-3041-43D61032255A}"/>
          </ac:grpSpMkLst>
        </pc:grpChg>
      </pc:sldChg>
      <pc:sldChg chg="modSp add mod ord">
        <pc:chgData name="Lim, Sharon" userId="9ed40bdc-079d-4cee-a990-4411351f7f9c" providerId="ADAL" clId="{DD93C774-82BE-4DBD-AB5E-BA44CCD0E829}" dt="2023-08-31T08:57:22.929" v="9900" actId="14100"/>
        <pc:sldMkLst>
          <pc:docMk/>
          <pc:sldMk cId="372961697" sldId="325"/>
        </pc:sldMkLst>
        <pc:spChg chg="mod">
          <ac:chgData name="Lim, Sharon" userId="9ed40bdc-079d-4cee-a990-4411351f7f9c" providerId="ADAL" clId="{DD93C774-82BE-4DBD-AB5E-BA44CCD0E829}" dt="2023-08-31T08:57:22.929" v="9900" actId="14100"/>
          <ac:spMkLst>
            <pc:docMk/>
            <pc:sldMk cId="372961697" sldId="325"/>
            <ac:spMk id="6" creationId="{4B57D8F3-220C-771F-0C3D-FA903D1E5FB1}"/>
          </ac:spMkLst>
        </pc:spChg>
      </pc:sldChg>
      <pc:sldChg chg="addSp modSp add mod">
        <pc:chgData name="Lim, Sharon" userId="9ed40bdc-079d-4cee-a990-4411351f7f9c" providerId="ADAL" clId="{DD93C774-82BE-4DBD-AB5E-BA44CCD0E829}" dt="2023-09-01T03:41:50.419" v="67244" actId="20577"/>
        <pc:sldMkLst>
          <pc:docMk/>
          <pc:sldMk cId="1970204867" sldId="326"/>
        </pc:sldMkLst>
        <pc:spChg chg="add mod">
          <ac:chgData name="Lim, Sharon" userId="9ed40bdc-079d-4cee-a990-4411351f7f9c" providerId="ADAL" clId="{DD93C774-82BE-4DBD-AB5E-BA44CCD0E829}" dt="2023-09-01T02:46:19.253" v="66412" actId="20577"/>
          <ac:spMkLst>
            <pc:docMk/>
            <pc:sldMk cId="1970204867" sldId="326"/>
            <ac:spMk id="3" creationId="{E78830AF-6DF1-5B7F-BA64-CA59970CB230}"/>
          </ac:spMkLst>
        </pc:spChg>
        <pc:spChg chg="mod">
          <ac:chgData name="Lim, Sharon" userId="9ed40bdc-079d-4cee-a990-4411351f7f9c" providerId="ADAL" clId="{DD93C774-82BE-4DBD-AB5E-BA44CCD0E829}" dt="2023-08-31T08:57:31.603" v="9918" actId="20577"/>
          <ac:spMkLst>
            <pc:docMk/>
            <pc:sldMk cId="1970204867" sldId="326"/>
            <ac:spMk id="5" creationId="{9727673B-8413-CCDC-BA64-7D07EAE62EA3}"/>
          </ac:spMkLst>
        </pc:spChg>
        <pc:spChg chg="mod">
          <ac:chgData name="Lim, Sharon" userId="9ed40bdc-079d-4cee-a990-4411351f7f9c" providerId="ADAL" clId="{DD93C774-82BE-4DBD-AB5E-BA44CCD0E829}" dt="2023-09-01T03:41:50.419" v="67244" actId="20577"/>
          <ac:spMkLst>
            <pc:docMk/>
            <pc:sldMk cId="1970204867" sldId="326"/>
            <ac:spMk id="6" creationId="{95F89051-279F-98F0-F3A3-E8717CF3EC24}"/>
          </ac:spMkLst>
        </pc:spChg>
      </pc:sldChg>
      <pc:sldChg chg="delSp add del mod">
        <pc:chgData name="Lim, Sharon" userId="9ed40bdc-079d-4cee-a990-4411351f7f9c" providerId="ADAL" clId="{DD93C774-82BE-4DBD-AB5E-BA44CCD0E829}" dt="2023-08-31T08:57:57.813" v="9922" actId="47"/>
        <pc:sldMkLst>
          <pc:docMk/>
          <pc:sldMk cId="1938413368" sldId="327"/>
        </pc:sldMkLst>
        <pc:spChg chg="del">
          <ac:chgData name="Lim, Sharon" userId="9ed40bdc-079d-4cee-a990-4411351f7f9c" providerId="ADAL" clId="{DD93C774-82BE-4DBD-AB5E-BA44CCD0E829}" dt="2023-08-31T08:57:51.594" v="9920" actId="478"/>
          <ac:spMkLst>
            <pc:docMk/>
            <pc:sldMk cId="1938413368" sldId="327"/>
            <ac:spMk id="3" creationId="{716DA34B-A3C3-39BF-06A5-AFF51923471A}"/>
          </ac:spMkLst>
        </pc:spChg>
        <pc:spChg chg="del">
          <ac:chgData name="Lim, Sharon" userId="9ed40bdc-079d-4cee-a990-4411351f7f9c" providerId="ADAL" clId="{DD93C774-82BE-4DBD-AB5E-BA44CCD0E829}" dt="2023-08-31T08:57:53.013" v="9921" actId="478"/>
          <ac:spMkLst>
            <pc:docMk/>
            <pc:sldMk cId="1938413368" sldId="327"/>
            <ac:spMk id="5" creationId="{C2514C8E-5E32-D000-57DA-B3D2F70F6143}"/>
          </ac:spMkLst>
        </pc:spChg>
      </pc:sldChg>
      <pc:sldChg chg="addSp delSp modSp add mod modAnim modNotesTx">
        <pc:chgData name="Lim, Sharon" userId="9ed40bdc-079d-4cee-a990-4411351f7f9c" providerId="ADAL" clId="{DD93C774-82BE-4DBD-AB5E-BA44CCD0E829}" dt="2023-09-01T04:26:26.061" v="67521"/>
        <pc:sldMkLst>
          <pc:docMk/>
          <pc:sldMk cId="2867288327" sldId="327"/>
        </pc:sldMkLst>
        <pc:spChg chg="del mod">
          <ac:chgData name="Lim, Sharon" userId="9ed40bdc-079d-4cee-a990-4411351f7f9c" providerId="ADAL" clId="{DD93C774-82BE-4DBD-AB5E-BA44CCD0E829}" dt="2023-09-01T03:29:44.475" v="66956" actId="478"/>
          <ac:spMkLst>
            <pc:docMk/>
            <pc:sldMk cId="2867288327" sldId="327"/>
            <ac:spMk id="2" creationId="{9F9FFE4E-88D2-7BEE-BA46-490D539EC4BF}"/>
          </ac:spMkLst>
        </pc:spChg>
        <pc:spChg chg="del">
          <ac:chgData name="Lim, Sharon" userId="9ed40bdc-079d-4cee-a990-4411351f7f9c" providerId="ADAL" clId="{DD93C774-82BE-4DBD-AB5E-BA44CCD0E829}" dt="2023-09-01T03:29:45.411" v="66957" actId="478"/>
          <ac:spMkLst>
            <pc:docMk/>
            <pc:sldMk cId="2867288327" sldId="327"/>
            <ac:spMk id="3" creationId="{D9C48D54-197D-910F-9A56-7FA2F90C85F6}"/>
          </ac:spMkLst>
        </pc:spChg>
        <pc:spChg chg="mod">
          <ac:chgData name="Lim, Sharon" userId="9ed40bdc-079d-4cee-a990-4411351f7f9c" providerId="ADAL" clId="{DD93C774-82BE-4DBD-AB5E-BA44CCD0E829}" dt="2023-08-31T12:57:21.837" v="63723"/>
          <ac:spMkLst>
            <pc:docMk/>
            <pc:sldMk cId="2867288327" sldId="327"/>
            <ac:spMk id="5" creationId="{9727673B-8413-CCDC-BA64-7D07EAE62EA3}"/>
          </ac:spMkLst>
        </pc:spChg>
        <pc:spChg chg="del">
          <ac:chgData name="Lim, Sharon" userId="9ed40bdc-079d-4cee-a990-4411351f7f9c" providerId="ADAL" clId="{DD93C774-82BE-4DBD-AB5E-BA44CCD0E829}" dt="2023-09-01T02:11:07.688" v="65939" actId="478"/>
          <ac:spMkLst>
            <pc:docMk/>
            <pc:sldMk cId="2867288327" sldId="327"/>
            <ac:spMk id="6" creationId="{95F89051-279F-98F0-F3A3-E8717CF3EC24}"/>
          </ac:spMkLst>
        </pc:spChg>
        <pc:spChg chg="del mod">
          <ac:chgData name="Lim, Sharon" userId="9ed40bdc-079d-4cee-a990-4411351f7f9c" providerId="ADAL" clId="{DD93C774-82BE-4DBD-AB5E-BA44CCD0E829}" dt="2023-09-01T04:03:26.801" v="67368" actId="478"/>
          <ac:spMkLst>
            <pc:docMk/>
            <pc:sldMk cId="2867288327" sldId="327"/>
            <ac:spMk id="7" creationId="{6ED8FD5A-7485-7BA2-4AAE-BA55DE6E721F}"/>
          </ac:spMkLst>
        </pc:spChg>
        <pc:spChg chg="mod">
          <ac:chgData name="Lim, Sharon" userId="9ed40bdc-079d-4cee-a990-4411351f7f9c" providerId="ADAL" clId="{DD93C774-82BE-4DBD-AB5E-BA44CCD0E829}" dt="2023-09-01T04:16:59.503" v="67504" actId="20577"/>
          <ac:spMkLst>
            <pc:docMk/>
            <pc:sldMk cId="2867288327" sldId="327"/>
            <ac:spMk id="8" creationId="{9F7B95B8-AC36-6F99-57AD-248FF243E3A7}"/>
          </ac:spMkLst>
        </pc:spChg>
        <pc:spChg chg="add mod">
          <ac:chgData name="Lim, Sharon" userId="9ed40bdc-079d-4cee-a990-4411351f7f9c" providerId="ADAL" clId="{DD93C774-82BE-4DBD-AB5E-BA44CCD0E829}" dt="2023-09-01T02:41:37.320" v="66360"/>
          <ac:spMkLst>
            <pc:docMk/>
            <pc:sldMk cId="2867288327" sldId="327"/>
            <ac:spMk id="10" creationId="{B945988D-03E3-FAF8-0FAF-D283938CF2AD}"/>
          </ac:spMkLst>
        </pc:spChg>
        <pc:spChg chg="add mod">
          <ac:chgData name="Lim, Sharon" userId="9ed40bdc-079d-4cee-a990-4411351f7f9c" providerId="ADAL" clId="{DD93C774-82BE-4DBD-AB5E-BA44CCD0E829}" dt="2023-09-01T04:04:06.429" v="67370" actId="1076"/>
          <ac:spMkLst>
            <pc:docMk/>
            <pc:sldMk cId="2867288327" sldId="327"/>
            <ac:spMk id="14" creationId="{C98E6FBE-B764-62B7-45CF-184DE0D51F6E}"/>
          </ac:spMkLst>
        </pc:spChg>
        <pc:spChg chg="add mod">
          <ac:chgData name="Lim, Sharon" userId="9ed40bdc-079d-4cee-a990-4411351f7f9c" providerId="ADAL" clId="{DD93C774-82BE-4DBD-AB5E-BA44CCD0E829}" dt="2023-09-01T04:04:06.429" v="67370" actId="1076"/>
          <ac:spMkLst>
            <pc:docMk/>
            <pc:sldMk cId="2867288327" sldId="327"/>
            <ac:spMk id="15" creationId="{CE7E7A43-7BFE-1C3D-BDC6-0C1AB6680BC2}"/>
          </ac:spMkLst>
        </pc:spChg>
        <pc:spChg chg="add mod">
          <ac:chgData name="Lim, Sharon" userId="9ed40bdc-079d-4cee-a990-4411351f7f9c" providerId="ADAL" clId="{DD93C774-82BE-4DBD-AB5E-BA44CCD0E829}" dt="2023-09-01T04:04:06.429" v="67370" actId="1076"/>
          <ac:spMkLst>
            <pc:docMk/>
            <pc:sldMk cId="2867288327" sldId="327"/>
            <ac:spMk id="16" creationId="{FC95D5FC-20BA-1896-7891-FC816B8DFDE6}"/>
          </ac:spMkLst>
        </pc:spChg>
        <pc:spChg chg="add mod">
          <ac:chgData name="Lim, Sharon" userId="9ed40bdc-079d-4cee-a990-4411351f7f9c" providerId="ADAL" clId="{DD93C774-82BE-4DBD-AB5E-BA44CCD0E829}" dt="2023-09-01T04:05:35.522" v="67489" actId="20577"/>
          <ac:spMkLst>
            <pc:docMk/>
            <pc:sldMk cId="2867288327" sldId="327"/>
            <ac:spMk id="17" creationId="{36B4CB87-4F6D-1C20-1500-9B9BFA531659}"/>
          </ac:spMkLst>
        </pc:spChg>
        <pc:spChg chg="del">
          <ac:chgData name="Lim, Sharon" userId="9ed40bdc-079d-4cee-a990-4411351f7f9c" providerId="ADAL" clId="{DD93C774-82BE-4DBD-AB5E-BA44CCD0E829}" dt="2023-08-31T09:48:49.822" v="40982"/>
          <ac:spMkLst>
            <pc:docMk/>
            <pc:sldMk cId="2867288327" sldId="327"/>
            <ac:spMk id="42" creationId="{157E2803-2BF7-ABD7-C482-D7A3AD0399C5}"/>
          </ac:spMkLst>
        </pc:spChg>
        <pc:spChg chg="del">
          <ac:chgData name="Lim, Sharon" userId="9ed40bdc-079d-4cee-a990-4411351f7f9c" providerId="ADAL" clId="{DD93C774-82BE-4DBD-AB5E-BA44CCD0E829}" dt="2023-08-31T09:48:49.819" v="40979"/>
          <ac:spMkLst>
            <pc:docMk/>
            <pc:sldMk cId="2867288327" sldId="327"/>
            <ac:spMk id="43" creationId="{157E2803-2BF7-ABD7-C482-D7A3AD0399C5}"/>
          </ac:spMkLst>
        </pc:spChg>
        <pc:spChg chg="del">
          <ac:chgData name="Lim, Sharon" userId="9ed40bdc-079d-4cee-a990-4411351f7f9c" providerId="ADAL" clId="{DD93C774-82BE-4DBD-AB5E-BA44CCD0E829}" dt="2023-08-31T09:48:49.817" v="40976"/>
          <ac:spMkLst>
            <pc:docMk/>
            <pc:sldMk cId="2867288327" sldId="327"/>
            <ac:spMk id="53" creationId="{DC00A50B-6B52-C5C7-2A31-D4AC197243DD}"/>
          </ac:spMkLst>
        </pc:spChg>
        <pc:spChg chg="del">
          <ac:chgData name="Lim, Sharon" userId="9ed40bdc-079d-4cee-a990-4411351f7f9c" providerId="ADAL" clId="{DD93C774-82BE-4DBD-AB5E-BA44CCD0E829}" dt="2023-08-31T09:48:49.815" v="40973"/>
          <ac:spMkLst>
            <pc:docMk/>
            <pc:sldMk cId="2867288327" sldId="327"/>
            <ac:spMk id="55" creationId="{75A646E6-F6A8-77EF-A3C0-62623A1E9EF0}"/>
          </ac:spMkLst>
        </pc:spChg>
        <pc:spChg chg="del">
          <ac:chgData name="Lim, Sharon" userId="9ed40bdc-079d-4cee-a990-4411351f7f9c" providerId="ADAL" clId="{DD93C774-82BE-4DBD-AB5E-BA44CCD0E829}" dt="2023-08-31T09:48:51.372" v="40994" actId="478"/>
          <ac:spMkLst>
            <pc:docMk/>
            <pc:sldMk cId="2867288327" sldId="327"/>
            <ac:spMk id="97" creationId="{E114BF3B-D9C8-51AD-9E78-B3BFB20D4E97}"/>
          </ac:spMkLst>
        </pc:spChg>
        <pc:spChg chg="del">
          <ac:chgData name="Lim, Sharon" userId="9ed40bdc-079d-4cee-a990-4411351f7f9c" providerId="ADAL" clId="{DD93C774-82BE-4DBD-AB5E-BA44CCD0E829}" dt="2023-08-31T09:48:49.826" v="40987"/>
          <ac:spMkLst>
            <pc:docMk/>
            <pc:sldMk cId="2867288327" sldId="327"/>
            <ac:spMk id="138" creationId="{157E2803-2BF7-ABD7-C482-D7A3AD0399C5}"/>
          </ac:spMkLst>
        </pc:spChg>
        <pc:spChg chg="del">
          <ac:chgData name="Lim, Sharon" userId="9ed40bdc-079d-4cee-a990-4411351f7f9c" providerId="ADAL" clId="{DD93C774-82BE-4DBD-AB5E-BA44CCD0E829}" dt="2023-08-31T09:48:49.825" v="40986"/>
          <ac:spMkLst>
            <pc:docMk/>
            <pc:sldMk cId="2867288327" sldId="327"/>
            <ac:spMk id="139" creationId="{157E2803-2BF7-ABD7-C482-D7A3AD0399C5}"/>
          </ac:spMkLst>
        </pc:spChg>
        <pc:spChg chg="del">
          <ac:chgData name="Lim, Sharon" userId="9ed40bdc-079d-4cee-a990-4411351f7f9c" providerId="ADAL" clId="{DD93C774-82BE-4DBD-AB5E-BA44CCD0E829}" dt="2023-08-31T09:48:49.825" v="40985"/>
          <ac:spMkLst>
            <pc:docMk/>
            <pc:sldMk cId="2867288327" sldId="327"/>
            <ac:spMk id="140" creationId="{157E2803-2BF7-ABD7-C482-D7A3AD0399C5}"/>
          </ac:spMkLst>
        </pc:spChg>
        <pc:spChg chg="del">
          <ac:chgData name="Lim, Sharon" userId="9ed40bdc-079d-4cee-a990-4411351f7f9c" providerId="ADAL" clId="{DD93C774-82BE-4DBD-AB5E-BA44CCD0E829}" dt="2023-08-31T09:48:49.823" v="40984"/>
          <ac:spMkLst>
            <pc:docMk/>
            <pc:sldMk cId="2867288327" sldId="327"/>
            <ac:spMk id="142" creationId="{157E2803-2BF7-ABD7-C482-D7A3AD0399C5}"/>
          </ac:spMkLst>
        </pc:spChg>
        <pc:spChg chg="del">
          <ac:chgData name="Lim, Sharon" userId="9ed40bdc-079d-4cee-a990-4411351f7f9c" providerId="ADAL" clId="{DD93C774-82BE-4DBD-AB5E-BA44CCD0E829}" dt="2023-08-31T09:48:49.823" v="40983"/>
          <ac:spMkLst>
            <pc:docMk/>
            <pc:sldMk cId="2867288327" sldId="327"/>
            <ac:spMk id="144" creationId="{157E2803-2BF7-ABD7-C482-D7A3AD0399C5}"/>
          </ac:spMkLst>
        </pc:spChg>
        <pc:graphicFrameChg chg="mod">
          <ac:chgData name="Lim, Sharon" userId="9ed40bdc-079d-4cee-a990-4411351f7f9c" providerId="ADAL" clId="{DD93C774-82BE-4DBD-AB5E-BA44CCD0E829}" dt="2023-08-31T09:48:49.843" v="40993"/>
          <ac:graphicFrameMkLst>
            <pc:docMk/>
            <pc:sldMk cId="2867288327" sldId="327"/>
            <ac:graphicFrameMk id="4" creationId="{DF641BDA-2511-C092-BA40-27C321E82FFD}"/>
          </ac:graphicFrameMkLst>
        </pc:graphicFrameChg>
        <pc:graphicFrameChg chg="del">
          <ac:chgData name="Lim, Sharon" userId="9ed40bdc-079d-4cee-a990-4411351f7f9c" providerId="ADAL" clId="{DD93C774-82BE-4DBD-AB5E-BA44CCD0E829}" dt="2023-08-31T09:48:49.828" v="40989"/>
          <ac:graphicFrameMkLst>
            <pc:docMk/>
            <pc:sldMk cId="2867288327" sldId="327"/>
            <ac:graphicFrameMk id="210" creationId="{FAFC2DC4-A678-F780-5D44-90F1A7C11B0E}"/>
          </ac:graphicFrameMkLst>
        </pc:graphicFrameChg>
        <pc:picChg chg="add del mod">
          <ac:chgData name="Lim, Sharon" userId="9ed40bdc-079d-4cee-a990-4411351f7f9c" providerId="ADAL" clId="{DD93C774-82BE-4DBD-AB5E-BA44CCD0E829}" dt="2023-09-01T03:29:43.675" v="66955" actId="478"/>
          <ac:picMkLst>
            <pc:docMk/>
            <pc:sldMk cId="2867288327" sldId="327"/>
            <ac:picMk id="9" creationId="{BC5AEBDF-7EED-FC65-C08E-0A1E3D799508}"/>
          </ac:picMkLst>
        </pc:picChg>
        <pc:picChg chg="add mod">
          <ac:chgData name="Lim, Sharon" userId="9ed40bdc-079d-4cee-a990-4411351f7f9c" providerId="ADAL" clId="{DD93C774-82BE-4DBD-AB5E-BA44CCD0E829}" dt="2023-09-01T04:04:06.429" v="67370" actId="1076"/>
          <ac:picMkLst>
            <pc:docMk/>
            <pc:sldMk cId="2867288327" sldId="327"/>
            <ac:picMk id="11" creationId="{C73CDF35-AC4E-166A-1A45-38368D016730}"/>
          </ac:picMkLst>
        </pc:picChg>
        <pc:picChg chg="add mod">
          <ac:chgData name="Lim, Sharon" userId="9ed40bdc-079d-4cee-a990-4411351f7f9c" providerId="ADAL" clId="{DD93C774-82BE-4DBD-AB5E-BA44CCD0E829}" dt="2023-09-01T04:04:06.429" v="67370" actId="1076"/>
          <ac:picMkLst>
            <pc:docMk/>
            <pc:sldMk cId="2867288327" sldId="327"/>
            <ac:picMk id="12" creationId="{C3F10A0A-D321-CB27-FC91-1A5D5C85E771}"/>
          </ac:picMkLst>
        </pc:picChg>
        <pc:picChg chg="add mod">
          <ac:chgData name="Lim, Sharon" userId="9ed40bdc-079d-4cee-a990-4411351f7f9c" providerId="ADAL" clId="{DD93C774-82BE-4DBD-AB5E-BA44CCD0E829}" dt="2023-09-01T04:04:06.429" v="67370" actId="1076"/>
          <ac:picMkLst>
            <pc:docMk/>
            <pc:sldMk cId="2867288327" sldId="327"/>
            <ac:picMk id="13" creationId="{128E4CBA-BF48-32FD-5D35-23D31B5C4835}"/>
          </ac:picMkLst>
        </pc:picChg>
        <pc:cxnChg chg="del">
          <ac:chgData name="Lim, Sharon" userId="9ed40bdc-079d-4cee-a990-4411351f7f9c" providerId="ADAL" clId="{DD93C774-82BE-4DBD-AB5E-BA44CCD0E829}" dt="2023-08-31T09:48:49.821" v="40981"/>
          <ac:cxnSpMkLst>
            <pc:docMk/>
            <pc:sldMk cId="2867288327" sldId="327"/>
            <ac:cxnSpMk id="62" creationId="{0E54DF90-44CF-BF83-D7B3-8EFD668423C5}"/>
          </ac:cxnSpMkLst>
        </pc:cxnChg>
        <pc:cxnChg chg="del">
          <ac:chgData name="Lim, Sharon" userId="9ed40bdc-079d-4cee-a990-4411351f7f9c" providerId="ADAL" clId="{DD93C774-82BE-4DBD-AB5E-BA44CCD0E829}" dt="2023-08-31T09:48:49.819" v="40978"/>
          <ac:cxnSpMkLst>
            <pc:docMk/>
            <pc:sldMk cId="2867288327" sldId="327"/>
            <ac:cxnSpMk id="63" creationId="{2A9A0987-69A3-41CE-E762-ECCE8CF9931D}"/>
          </ac:cxnSpMkLst>
        </pc:cxnChg>
        <pc:cxnChg chg="del">
          <ac:chgData name="Lim, Sharon" userId="9ed40bdc-079d-4cee-a990-4411351f7f9c" providerId="ADAL" clId="{DD93C774-82BE-4DBD-AB5E-BA44CCD0E829}" dt="2023-08-31T09:48:49.817" v="40975"/>
          <ac:cxnSpMkLst>
            <pc:docMk/>
            <pc:sldMk cId="2867288327" sldId="327"/>
            <ac:cxnSpMk id="64" creationId="{5CAD834A-2749-DD0F-D221-D85C293C5FF8}"/>
          </ac:cxnSpMkLst>
        </pc:cxnChg>
        <pc:cxnChg chg="del">
          <ac:chgData name="Lim, Sharon" userId="9ed40bdc-079d-4cee-a990-4411351f7f9c" providerId="ADAL" clId="{DD93C774-82BE-4DBD-AB5E-BA44CCD0E829}" dt="2023-08-31T09:48:49.814" v="40972"/>
          <ac:cxnSpMkLst>
            <pc:docMk/>
            <pc:sldMk cId="2867288327" sldId="327"/>
            <ac:cxnSpMk id="66" creationId="{DC3A2664-9616-7687-537E-994598BA2E6E}"/>
          </ac:cxnSpMkLst>
        </pc:cxnChg>
        <pc:cxnChg chg="del">
          <ac:chgData name="Lim, Sharon" userId="9ed40bdc-079d-4cee-a990-4411351f7f9c" providerId="ADAL" clId="{DD93C774-82BE-4DBD-AB5E-BA44CCD0E829}" dt="2023-08-31T09:48:49.812" v="40970"/>
          <ac:cxnSpMkLst>
            <pc:docMk/>
            <pc:sldMk cId="2867288327" sldId="327"/>
            <ac:cxnSpMk id="196" creationId="{94C731A5-5C8F-C14C-9735-200D38167901}"/>
          </ac:cxnSpMkLst>
        </pc:cxnChg>
      </pc:sldChg>
      <pc:sldChg chg="addSp delSp modSp add mod ord modNotesTx">
        <pc:chgData name="Lim, Sharon" userId="9ed40bdc-079d-4cee-a990-4411351f7f9c" providerId="ADAL" clId="{DD93C774-82BE-4DBD-AB5E-BA44CCD0E829}" dt="2023-09-01T04:26:38.365" v="67522"/>
        <pc:sldMkLst>
          <pc:docMk/>
          <pc:sldMk cId="3381536131" sldId="328"/>
        </pc:sldMkLst>
        <pc:spChg chg="mod ord">
          <ac:chgData name="Lim, Sharon" userId="9ed40bdc-079d-4cee-a990-4411351f7f9c" providerId="ADAL" clId="{DD93C774-82BE-4DBD-AB5E-BA44CCD0E829}" dt="2023-09-01T03:27:30.491" v="66915"/>
          <ac:spMkLst>
            <pc:docMk/>
            <pc:sldMk cId="3381536131" sldId="328"/>
            <ac:spMk id="2" creationId="{27A70C6D-4F36-5634-67FD-DB702A91E413}"/>
          </ac:spMkLst>
        </pc:spChg>
        <pc:spChg chg="mod ord">
          <ac:chgData name="Lim, Sharon" userId="9ed40bdc-079d-4cee-a990-4411351f7f9c" providerId="ADAL" clId="{DD93C774-82BE-4DBD-AB5E-BA44CCD0E829}" dt="2023-09-01T03:27:30.493" v="66917"/>
          <ac:spMkLst>
            <pc:docMk/>
            <pc:sldMk cId="3381536131" sldId="328"/>
            <ac:spMk id="3" creationId="{309569E5-818D-E0AB-4B5B-831A3227E7F1}"/>
          </ac:spMkLst>
        </pc:spChg>
        <pc:spChg chg="mod ord">
          <ac:chgData name="Lim, Sharon" userId="9ed40bdc-079d-4cee-a990-4411351f7f9c" providerId="ADAL" clId="{DD93C774-82BE-4DBD-AB5E-BA44CCD0E829}" dt="2023-09-01T03:27:30.491" v="66913"/>
          <ac:spMkLst>
            <pc:docMk/>
            <pc:sldMk cId="3381536131" sldId="328"/>
            <ac:spMk id="5" creationId="{9727673B-8413-CCDC-BA64-7D07EAE62EA3}"/>
          </ac:spMkLst>
        </pc:spChg>
        <pc:spChg chg="del mod ord">
          <ac:chgData name="Lim, Sharon" userId="9ed40bdc-079d-4cee-a990-4411351f7f9c" providerId="ADAL" clId="{DD93C774-82BE-4DBD-AB5E-BA44CCD0E829}" dt="2023-09-01T02:11:23.097" v="65942" actId="478"/>
          <ac:spMkLst>
            <pc:docMk/>
            <pc:sldMk cId="3381536131" sldId="328"/>
            <ac:spMk id="6" creationId="{95F89051-279F-98F0-F3A3-E8717CF3EC24}"/>
          </ac:spMkLst>
        </pc:spChg>
        <pc:spChg chg="mod ord">
          <ac:chgData name="Lim, Sharon" userId="9ed40bdc-079d-4cee-a990-4411351f7f9c" providerId="ADAL" clId="{DD93C774-82BE-4DBD-AB5E-BA44CCD0E829}" dt="2023-09-01T03:27:30.494" v="66919"/>
          <ac:spMkLst>
            <pc:docMk/>
            <pc:sldMk cId="3381536131" sldId="328"/>
            <ac:spMk id="7" creationId="{D2F05241-B0C8-1B09-FB08-3F061308441B}"/>
          </ac:spMkLst>
        </pc:spChg>
        <pc:spChg chg="mod ord">
          <ac:chgData name="Lim, Sharon" userId="9ed40bdc-079d-4cee-a990-4411351f7f9c" providerId="ADAL" clId="{DD93C774-82BE-4DBD-AB5E-BA44CCD0E829}" dt="2023-09-01T04:19:44.207" v="67517" actId="20577"/>
          <ac:spMkLst>
            <pc:docMk/>
            <pc:sldMk cId="3381536131" sldId="328"/>
            <ac:spMk id="8" creationId="{CC547042-7CE4-54E6-6411-ADE13FFDB19A}"/>
          </ac:spMkLst>
        </pc:spChg>
        <pc:spChg chg="add del mod modVis">
          <ac:chgData name="Lim, Sharon" userId="9ed40bdc-079d-4cee-a990-4411351f7f9c" providerId="ADAL" clId="{DD93C774-82BE-4DBD-AB5E-BA44CCD0E829}" dt="2023-08-31T10:44:39.710" v="47993"/>
          <ac:spMkLst>
            <pc:docMk/>
            <pc:sldMk cId="3381536131" sldId="328"/>
            <ac:spMk id="9" creationId="{8CF59061-4103-2B75-2AF6-20ED1844207D}"/>
          </ac:spMkLst>
        </pc:spChg>
        <pc:spChg chg="add del mod modVis">
          <ac:chgData name="Lim, Sharon" userId="9ed40bdc-079d-4cee-a990-4411351f7f9c" providerId="ADAL" clId="{DD93C774-82BE-4DBD-AB5E-BA44CCD0E829}" dt="2023-08-31T10:44:58.396" v="48185"/>
          <ac:spMkLst>
            <pc:docMk/>
            <pc:sldMk cId="3381536131" sldId="328"/>
            <ac:spMk id="17" creationId="{2834603E-1070-4788-C256-B4E541B03F20}"/>
          </ac:spMkLst>
        </pc:spChg>
        <pc:spChg chg="add del mod replST">
          <ac:chgData name="Lim, Sharon" userId="9ed40bdc-079d-4cee-a990-4411351f7f9c" providerId="ADAL" clId="{DD93C774-82BE-4DBD-AB5E-BA44CCD0E829}" dt="2023-08-31T10:45:14.826" v="48804"/>
          <ac:spMkLst>
            <pc:docMk/>
            <pc:sldMk cId="3381536131" sldId="328"/>
            <ac:spMk id="19" creationId="{3BBFB05D-D09E-1BAC-44F8-2AA24758203A}"/>
          </ac:spMkLst>
        </pc:spChg>
        <pc:spChg chg="add del mod modVis">
          <ac:chgData name="Lim, Sharon" userId="9ed40bdc-079d-4cee-a990-4411351f7f9c" providerId="ADAL" clId="{DD93C774-82BE-4DBD-AB5E-BA44CCD0E829}" dt="2023-08-31T10:45:05.626" v="48409"/>
          <ac:spMkLst>
            <pc:docMk/>
            <pc:sldMk cId="3381536131" sldId="328"/>
            <ac:spMk id="20" creationId="{025ACD5A-B48F-BE1F-6914-23CC57C1419B}"/>
          </ac:spMkLst>
        </pc:spChg>
        <pc:spChg chg="add del mod modVis">
          <ac:chgData name="Lim, Sharon" userId="9ed40bdc-079d-4cee-a990-4411351f7f9c" providerId="ADAL" clId="{DD93C774-82BE-4DBD-AB5E-BA44CCD0E829}" dt="2023-08-31T10:45:07.842" v="48601"/>
          <ac:spMkLst>
            <pc:docMk/>
            <pc:sldMk cId="3381536131" sldId="328"/>
            <ac:spMk id="23" creationId="{C0151344-773E-FC80-7FD1-108CCDDF509A}"/>
          </ac:spMkLst>
        </pc:spChg>
        <pc:spChg chg="add del mod modVis">
          <ac:chgData name="Lim, Sharon" userId="9ed40bdc-079d-4cee-a990-4411351f7f9c" providerId="ADAL" clId="{DD93C774-82BE-4DBD-AB5E-BA44CCD0E829}" dt="2023-08-31T10:45:12.185" v="48793"/>
          <ac:spMkLst>
            <pc:docMk/>
            <pc:sldMk cId="3381536131" sldId="328"/>
            <ac:spMk id="25" creationId="{F930B472-C921-3B84-32EC-490CAE14BBF2}"/>
          </ac:spMkLst>
        </pc:spChg>
        <pc:spChg chg="add del mod modVis">
          <ac:chgData name="Lim, Sharon" userId="9ed40bdc-079d-4cee-a990-4411351f7f9c" providerId="ADAL" clId="{DD93C774-82BE-4DBD-AB5E-BA44CCD0E829}" dt="2023-08-31T10:45:15.192" v="48940"/>
          <ac:spMkLst>
            <pc:docMk/>
            <pc:sldMk cId="3381536131" sldId="328"/>
            <ac:spMk id="27" creationId="{CCC01E7E-028F-53A3-1665-79689657823D}"/>
          </ac:spMkLst>
        </pc:spChg>
        <pc:spChg chg="add del mod modVis">
          <ac:chgData name="Lim, Sharon" userId="9ed40bdc-079d-4cee-a990-4411351f7f9c" providerId="ADAL" clId="{DD93C774-82BE-4DBD-AB5E-BA44CCD0E829}" dt="2023-08-31T10:45:45.341" v="49390"/>
          <ac:spMkLst>
            <pc:docMk/>
            <pc:sldMk cId="3381536131" sldId="328"/>
            <ac:spMk id="29" creationId="{4BDFC5AA-6D79-FCEA-9AB8-0745159D7A41}"/>
          </ac:spMkLst>
        </pc:spChg>
        <pc:spChg chg="add del mod modVis">
          <ac:chgData name="Lim, Sharon" userId="9ed40bdc-079d-4cee-a990-4411351f7f9c" providerId="ADAL" clId="{DD93C774-82BE-4DBD-AB5E-BA44CCD0E829}" dt="2023-08-31T10:45:54.530" v="49529"/>
          <ac:spMkLst>
            <pc:docMk/>
            <pc:sldMk cId="3381536131" sldId="328"/>
            <ac:spMk id="31" creationId="{53AE7D6F-F8FF-A2AF-F286-7022B0080B01}"/>
          </ac:spMkLst>
        </pc:spChg>
        <pc:spChg chg="add del mod modVis">
          <ac:chgData name="Lim, Sharon" userId="9ed40bdc-079d-4cee-a990-4411351f7f9c" providerId="ADAL" clId="{DD93C774-82BE-4DBD-AB5E-BA44CCD0E829}" dt="2023-08-31T10:45:59.465" v="49668"/>
          <ac:spMkLst>
            <pc:docMk/>
            <pc:sldMk cId="3381536131" sldId="328"/>
            <ac:spMk id="33" creationId="{876BD7DB-7D4E-67B9-51CC-3065B4F3E7AC}"/>
          </ac:spMkLst>
        </pc:spChg>
        <pc:spChg chg="add del mod modVis">
          <ac:chgData name="Lim, Sharon" userId="9ed40bdc-079d-4cee-a990-4411351f7f9c" providerId="ADAL" clId="{DD93C774-82BE-4DBD-AB5E-BA44CCD0E829}" dt="2023-08-31T10:46:08.575" v="49807"/>
          <ac:spMkLst>
            <pc:docMk/>
            <pc:sldMk cId="3381536131" sldId="328"/>
            <ac:spMk id="35" creationId="{06D532B1-A6F3-53BE-12E5-D2CCCAD82052}"/>
          </ac:spMkLst>
        </pc:spChg>
        <pc:spChg chg="add del mod modVis">
          <ac:chgData name="Lim, Sharon" userId="9ed40bdc-079d-4cee-a990-4411351f7f9c" providerId="ADAL" clId="{DD93C774-82BE-4DBD-AB5E-BA44CCD0E829}" dt="2023-08-31T10:46:13.490" v="49945"/>
          <ac:spMkLst>
            <pc:docMk/>
            <pc:sldMk cId="3381536131" sldId="328"/>
            <ac:spMk id="37" creationId="{4E4ADDFD-C3D0-E2FF-5EDF-6ACAE3B0EF90}"/>
          </ac:spMkLst>
        </pc:spChg>
        <pc:spChg chg="add del mod modVis">
          <ac:chgData name="Lim, Sharon" userId="9ed40bdc-079d-4cee-a990-4411351f7f9c" providerId="ADAL" clId="{DD93C774-82BE-4DBD-AB5E-BA44CCD0E829}" dt="2023-08-31T10:46:22.923" v="50083"/>
          <ac:spMkLst>
            <pc:docMk/>
            <pc:sldMk cId="3381536131" sldId="328"/>
            <ac:spMk id="39" creationId="{39705616-7595-EAF8-34FC-19E1685D4163}"/>
          </ac:spMkLst>
        </pc:spChg>
        <pc:spChg chg="add del mod modVis">
          <ac:chgData name="Lim, Sharon" userId="9ed40bdc-079d-4cee-a990-4411351f7f9c" providerId="ADAL" clId="{DD93C774-82BE-4DBD-AB5E-BA44CCD0E829}" dt="2023-08-31T10:46:29.581" v="50221"/>
          <ac:spMkLst>
            <pc:docMk/>
            <pc:sldMk cId="3381536131" sldId="328"/>
            <ac:spMk id="41" creationId="{49625061-D226-00D7-03B8-66575C3889DC}"/>
          </ac:spMkLst>
        </pc:spChg>
        <pc:spChg chg="add del mod modVis">
          <ac:chgData name="Lim, Sharon" userId="9ed40bdc-079d-4cee-a990-4411351f7f9c" providerId="ADAL" clId="{DD93C774-82BE-4DBD-AB5E-BA44CCD0E829}" dt="2023-08-31T10:46:50.102" v="50569"/>
          <ac:spMkLst>
            <pc:docMk/>
            <pc:sldMk cId="3381536131" sldId="328"/>
            <ac:spMk id="43" creationId="{C7B8964B-4619-EB12-0B95-5D38BF646135}"/>
          </ac:spMkLst>
        </pc:spChg>
        <pc:spChg chg="mod">
          <ac:chgData name="Lim, Sharon" userId="9ed40bdc-079d-4cee-a990-4411351f7f9c" providerId="ADAL" clId="{DD93C774-82BE-4DBD-AB5E-BA44CCD0E829}" dt="2023-09-01T03:27:30.503" v="66931"/>
          <ac:spMkLst>
            <pc:docMk/>
            <pc:sldMk cId="3381536131" sldId="328"/>
            <ac:spMk id="44" creationId="{157E2803-2BF7-ABD7-C482-D7A3AD0399C5}"/>
          </ac:spMkLst>
        </pc:spChg>
        <pc:spChg chg="add del mod ord replST">
          <ac:chgData name="Lim, Sharon" userId="9ed40bdc-079d-4cee-a990-4411351f7f9c" providerId="ADAL" clId="{DD93C774-82BE-4DBD-AB5E-BA44CCD0E829}" dt="2023-08-31T10:46:55.816" v="50575"/>
          <ac:spMkLst>
            <pc:docMk/>
            <pc:sldMk cId="3381536131" sldId="328"/>
            <ac:spMk id="45" creationId="{157E2803-2BF7-ABD7-C482-D7A3AD0399C5}"/>
          </ac:spMkLst>
        </pc:spChg>
        <pc:spChg chg="mod">
          <ac:chgData name="Lim, Sharon" userId="9ed40bdc-079d-4cee-a990-4411351f7f9c" providerId="ADAL" clId="{DD93C774-82BE-4DBD-AB5E-BA44CCD0E829}" dt="2023-09-01T03:27:30.504" v="66932"/>
          <ac:spMkLst>
            <pc:docMk/>
            <pc:sldMk cId="3381536131" sldId="328"/>
            <ac:spMk id="46" creationId="{DAE92E55-4AC9-5E00-1DC8-C08851D3D5BF}"/>
          </ac:spMkLst>
        </pc:spChg>
        <pc:spChg chg="add del mod ord replST">
          <ac:chgData name="Lim, Sharon" userId="9ed40bdc-079d-4cee-a990-4411351f7f9c" providerId="ADAL" clId="{DD93C774-82BE-4DBD-AB5E-BA44CCD0E829}" dt="2023-08-31T10:47:02.240" v="50669"/>
          <ac:spMkLst>
            <pc:docMk/>
            <pc:sldMk cId="3381536131" sldId="328"/>
            <ac:spMk id="47" creationId="{157E2803-2BF7-ABD7-C482-D7A3AD0399C5}"/>
          </ac:spMkLst>
        </pc:spChg>
        <pc:spChg chg="add del mod ord replST">
          <ac:chgData name="Lim, Sharon" userId="9ed40bdc-079d-4cee-a990-4411351f7f9c" providerId="ADAL" clId="{DD93C774-82BE-4DBD-AB5E-BA44CCD0E829}" dt="2023-08-31T10:47:43.067" v="52214"/>
          <ac:spMkLst>
            <pc:docMk/>
            <pc:sldMk cId="3381536131" sldId="328"/>
            <ac:spMk id="48" creationId="{157E2803-2BF7-ABD7-C482-D7A3AD0399C5}"/>
          </ac:spMkLst>
        </pc:spChg>
        <pc:spChg chg="mod">
          <ac:chgData name="Lim, Sharon" userId="9ed40bdc-079d-4cee-a990-4411351f7f9c" providerId="ADAL" clId="{DD93C774-82BE-4DBD-AB5E-BA44CCD0E829}" dt="2023-09-01T03:27:30.504" v="66933"/>
          <ac:spMkLst>
            <pc:docMk/>
            <pc:sldMk cId="3381536131" sldId="328"/>
            <ac:spMk id="49" creationId="{AD67CEAD-175D-0847-C5C8-7CE7781BE82A}"/>
          </ac:spMkLst>
        </pc:spChg>
        <pc:spChg chg="mod">
          <ac:chgData name="Lim, Sharon" userId="9ed40bdc-079d-4cee-a990-4411351f7f9c" providerId="ADAL" clId="{DD93C774-82BE-4DBD-AB5E-BA44CCD0E829}" dt="2023-09-01T03:27:30.506" v="66934"/>
          <ac:spMkLst>
            <pc:docMk/>
            <pc:sldMk cId="3381536131" sldId="328"/>
            <ac:spMk id="52" creationId="{B5EB1D99-5159-57D9-6A0C-7FB6EF23BA70}"/>
          </ac:spMkLst>
        </pc:spChg>
        <pc:spChg chg="del mod">
          <ac:chgData name="Lim, Sharon" userId="9ed40bdc-079d-4cee-a990-4411351f7f9c" providerId="ADAL" clId="{DD93C774-82BE-4DBD-AB5E-BA44CCD0E829}" dt="2023-08-31T10:45:14.819" v="48798"/>
          <ac:spMkLst>
            <pc:docMk/>
            <pc:sldMk cId="3381536131" sldId="328"/>
            <ac:spMk id="55" creationId="{16E631E1-6AC2-FA6B-564A-6E8B6BAA41BF}"/>
          </ac:spMkLst>
        </pc:spChg>
        <pc:spChg chg="del mod">
          <ac:chgData name="Lim, Sharon" userId="9ed40bdc-079d-4cee-a990-4411351f7f9c" providerId="ADAL" clId="{DD93C774-82BE-4DBD-AB5E-BA44CCD0E829}" dt="2023-08-31T10:45:14.822" v="48801"/>
          <ac:spMkLst>
            <pc:docMk/>
            <pc:sldMk cId="3381536131" sldId="328"/>
            <ac:spMk id="56" creationId="{6EBF9BFC-0D41-05F4-6CD5-72C4F3D246B7}"/>
          </ac:spMkLst>
        </pc:spChg>
        <pc:spChg chg="add del mod modVis">
          <ac:chgData name="Lim, Sharon" userId="9ed40bdc-079d-4cee-a990-4411351f7f9c" providerId="ADAL" clId="{DD93C774-82BE-4DBD-AB5E-BA44CCD0E829}" dt="2023-08-31T10:46:55.965" v="50665"/>
          <ac:spMkLst>
            <pc:docMk/>
            <pc:sldMk cId="3381536131" sldId="328"/>
            <ac:spMk id="57" creationId="{601FB93D-3CB8-D5AB-715F-369EADCE1B75}"/>
          </ac:spMkLst>
        </pc:spChg>
        <pc:spChg chg="add del mod modVis">
          <ac:chgData name="Lim, Sharon" userId="9ed40bdc-079d-4cee-a990-4411351f7f9c" providerId="ADAL" clId="{DD93C774-82BE-4DBD-AB5E-BA44CCD0E829}" dt="2023-08-31T10:47:02.436" v="50756"/>
          <ac:spMkLst>
            <pc:docMk/>
            <pc:sldMk cId="3381536131" sldId="328"/>
            <ac:spMk id="59" creationId="{2EC8AFC3-D289-3955-8E7B-C3FC6AF61A60}"/>
          </ac:spMkLst>
        </pc:spChg>
        <pc:spChg chg="add del mod modVis">
          <ac:chgData name="Lim, Sharon" userId="9ed40bdc-079d-4cee-a990-4411351f7f9c" providerId="ADAL" clId="{DD93C774-82BE-4DBD-AB5E-BA44CCD0E829}" dt="2023-08-31T10:47:07.934" v="51017"/>
          <ac:spMkLst>
            <pc:docMk/>
            <pc:sldMk cId="3381536131" sldId="328"/>
            <ac:spMk id="61" creationId="{6A80E2AF-157E-9F2C-B90C-A97DD84ACA70}"/>
          </ac:spMkLst>
        </pc:spChg>
        <pc:spChg chg="add del mod modVis">
          <ac:chgData name="Lim, Sharon" userId="9ed40bdc-079d-4cee-a990-4411351f7f9c" providerId="ADAL" clId="{DD93C774-82BE-4DBD-AB5E-BA44CCD0E829}" dt="2023-08-31T10:47:17.158" v="51302"/>
          <ac:spMkLst>
            <pc:docMk/>
            <pc:sldMk cId="3381536131" sldId="328"/>
            <ac:spMk id="63" creationId="{A2C8A51E-4DC7-7CED-8645-2CFD5FCE6A23}"/>
          </ac:spMkLst>
        </pc:spChg>
        <pc:spChg chg="add del mod ord replST">
          <ac:chgData name="Lim, Sharon" userId="9ed40bdc-079d-4cee-a990-4411351f7f9c" providerId="ADAL" clId="{DD93C774-82BE-4DBD-AB5E-BA44CCD0E829}" dt="2023-08-31T10:47:36.289" v="51926"/>
          <ac:spMkLst>
            <pc:docMk/>
            <pc:sldMk cId="3381536131" sldId="328"/>
            <ac:spMk id="64" creationId="{157E2803-2BF7-ABD7-C482-D7A3AD0399C5}"/>
          </ac:spMkLst>
        </pc:spChg>
        <pc:spChg chg="add del mod ord replST">
          <ac:chgData name="Lim, Sharon" userId="9ed40bdc-079d-4cee-a990-4411351f7f9c" providerId="ADAL" clId="{DD93C774-82BE-4DBD-AB5E-BA44CCD0E829}" dt="2023-08-31T10:47:39.972" v="52108"/>
          <ac:spMkLst>
            <pc:docMk/>
            <pc:sldMk cId="3381536131" sldId="328"/>
            <ac:spMk id="67" creationId="{157E2803-2BF7-ABD7-C482-D7A3AD0399C5}"/>
          </ac:spMkLst>
        </pc:spChg>
        <pc:spChg chg="add del mod modVis">
          <ac:chgData name="Lim, Sharon" userId="9ed40bdc-079d-4cee-a990-4411351f7f9c" providerId="ADAL" clId="{DD93C774-82BE-4DBD-AB5E-BA44CCD0E829}" dt="2023-08-31T10:47:24.282" v="51477"/>
          <ac:spMkLst>
            <pc:docMk/>
            <pc:sldMk cId="3381536131" sldId="328"/>
            <ac:spMk id="69" creationId="{6C1193AD-417B-FDED-C0D2-E5FAEAF3B11C}"/>
          </ac:spMkLst>
        </pc:spChg>
        <pc:spChg chg="add del mod replST">
          <ac:chgData name="Lim, Sharon" userId="9ed40bdc-079d-4cee-a990-4411351f7f9c" providerId="ADAL" clId="{DD93C774-82BE-4DBD-AB5E-BA44CCD0E829}" dt="2023-08-31T10:47:25.136" v="51527"/>
          <ac:spMkLst>
            <pc:docMk/>
            <pc:sldMk cId="3381536131" sldId="328"/>
            <ac:spMk id="70" creationId="{157E2803-2BF7-ABD7-C482-D7A3AD0399C5}"/>
          </ac:spMkLst>
        </pc:spChg>
        <pc:spChg chg="add del mod modVis">
          <ac:chgData name="Lim, Sharon" userId="9ed40bdc-079d-4cee-a990-4411351f7f9c" providerId="ADAL" clId="{DD93C774-82BE-4DBD-AB5E-BA44CCD0E829}" dt="2023-08-31T10:47:25.238" v="51591"/>
          <ac:spMkLst>
            <pc:docMk/>
            <pc:sldMk cId="3381536131" sldId="328"/>
            <ac:spMk id="72" creationId="{C371698D-F61D-3728-5253-ADD052303743}"/>
          </ac:spMkLst>
        </pc:spChg>
        <pc:spChg chg="add del mod modVis">
          <ac:chgData name="Lim, Sharon" userId="9ed40bdc-079d-4cee-a990-4411351f7f9c" providerId="ADAL" clId="{DD93C774-82BE-4DBD-AB5E-BA44CCD0E829}" dt="2023-08-31T10:47:29.702" v="51688"/>
          <ac:spMkLst>
            <pc:docMk/>
            <pc:sldMk cId="3381536131" sldId="328"/>
            <ac:spMk id="75" creationId="{0CD901BE-2E78-4E37-3532-C85695FB8452}"/>
          </ac:spMkLst>
        </pc:spChg>
        <pc:spChg chg="add del mod modVis">
          <ac:chgData name="Lim, Sharon" userId="9ed40bdc-079d-4cee-a990-4411351f7f9c" providerId="ADAL" clId="{DD93C774-82BE-4DBD-AB5E-BA44CCD0E829}" dt="2023-08-31T10:47:31.125" v="51783"/>
          <ac:spMkLst>
            <pc:docMk/>
            <pc:sldMk cId="3381536131" sldId="328"/>
            <ac:spMk id="77" creationId="{5967CB5E-58CA-1EB2-D118-58850439E2CB}"/>
          </ac:spMkLst>
        </pc:spChg>
        <pc:spChg chg="add del mod modVis">
          <ac:chgData name="Lim, Sharon" userId="9ed40bdc-079d-4cee-a990-4411351f7f9c" providerId="ADAL" clId="{DD93C774-82BE-4DBD-AB5E-BA44CCD0E829}" dt="2023-08-31T10:47:34.920" v="51876"/>
          <ac:spMkLst>
            <pc:docMk/>
            <pc:sldMk cId="3381536131" sldId="328"/>
            <ac:spMk id="79" creationId="{5A5C8327-8834-D351-A12C-AC42034DEB4D}"/>
          </ac:spMkLst>
        </pc:spChg>
        <pc:spChg chg="add del mod modVis">
          <ac:chgData name="Lim, Sharon" userId="9ed40bdc-079d-4cee-a990-4411351f7f9c" providerId="ADAL" clId="{DD93C774-82BE-4DBD-AB5E-BA44CCD0E829}" dt="2023-08-31T10:47:36.361" v="51969"/>
          <ac:spMkLst>
            <pc:docMk/>
            <pc:sldMk cId="3381536131" sldId="328"/>
            <ac:spMk id="83" creationId="{5E0D82E9-9A38-1D2B-5CC0-9494A8616894}"/>
          </ac:spMkLst>
        </pc:spChg>
        <pc:spChg chg="add del mod modVis">
          <ac:chgData name="Lim, Sharon" userId="9ed40bdc-079d-4cee-a990-4411351f7f9c" providerId="ADAL" clId="{DD93C774-82BE-4DBD-AB5E-BA44CCD0E829}" dt="2023-08-31T10:47:39.833" v="52059"/>
          <ac:spMkLst>
            <pc:docMk/>
            <pc:sldMk cId="3381536131" sldId="328"/>
            <ac:spMk id="86" creationId="{E4A057BD-876A-ACC4-1850-AF6CDA132F1E}"/>
          </ac:spMkLst>
        </pc:spChg>
        <pc:spChg chg="add del mod modVis">
          <ac:chgData name="Lim, Sharon" userId="9ed40bdc-079d-4cee-a990-4411351f7f9c" providerId="ADAL" clId="{DD93C774-82BE-4DBD-AB5E-BA44CCD0E829}" dt="2023-08-31T10:47:40.059" v="52166"/>
          <ac:spMkLst>
            <pc:docMk/>
            <pc:sldMk cId="3381536131" sldId="328"/>
            <ac:spMk id="88" creationId="{9A8179E6-E5A8-8FB5-1B66-ECEBCED2AF4E}"/>
          </ac:spMkLst>
        </pc:spChg>
        <pc:spChg chg="add del mod modVis">
          <ac:chgData name="Lim, Sharon" userId="9ed40bdc-079d-4cee-a990-4411351f7f9c" providerId="ADAL" clId="{DD93C774-82BE-4DBD-AB5E-BA44CCD0E829}" dt="2023-08-31T10:47:43.153" v="52267"/>
          <ac:spMkLst>
            <pc:docMk/>
            <pc:sldMk cId="3381536131" sldId="328"/>
            <ac:spMk id="91" creationId="{270762C3-0BCF-5AA2-1BC9-F074DE242063}"/>
          </ac:spMkLst>
        </pc:spChg>
        <pc:spChg chg="add del mod modVis">
          <ac:chgData name="Lim, Sharon" userId="9ed40bdc-079d-4cee-a990-4411351f7f9c" providerId="ADAL" clId="{DD93C774-82BE-4DBD-AB5E-BA44CCD0E829}" dt="2023-08-31T10:47:48.220" v="52435"/>
          <ac:spMkLst>
            <pc:docMk/>
            <pc:sldMk cId="3381536131" sldId="328"/>
            <ac:spMk id="94" creationId="{8DC71F96-E7CE-8310-3B97-453CB54D96AD}"/>
          </ac:spMkLst>
        </pc:spChg>
        <pc:spChg chg="add del mod replST">
          <ac:chgData name="Lim, Sharon" userId="9ed40bdc-079d-4cee-a990-4411351f7f9c" providerId="ADAL" clId="{DD93C774-82BE-4DBD-AB5E-BA44CCD0E829}" dt="2023-08-31T10:47:49.170" v="52482"/>
          <ac:spMkLst>
            <pc:docMk/>
            <pc:sldMk cId="3381536131" sldId="328"/>
            <ac:spMk id="95" creationId="{157E2803-2BF7-ABD7-C482-D7A3AD0399C5}"/>
          </ac:spMkLst>
        </pc:spChg>
        <pc:spChg chg="add del mod modVis">
          <ac:chgData name="Lim, Sharon" userId="9ed40bdc-079d-4cee-a990-4411351f7f9c" providerId="ADAL" clId="{DD93C774-82BE-4DBD-AB5E-BA44CCD0E829}" dt="2023-08-31T10:47:49.249" v="52523"/>
          <ac:spMkLst>
            <pc:docMk/>
            <pc:sldMk cId="3381536131" sldId="328"/>
            <ac:spMk id="97" creationId="{E656E249-1431-7B5D-25AF-7075C948B220}"/>
          </ac:spMkLst>
        </pc:spChg>
        <pc:spChg chg="add del mod modVis">
          <ac:chgData name="Lim, Sharon" userId="9ed40bdc-079d-4cee-a990-4411351f7f9c" providerId="ADAL" clId="{DD93C774-82BE-4DBD-AB5E-BA44CCD0E829}" dt="2023-08-31T10:47:49.647" v="52617"/>
          <ac:spMkLst>
            <pc:docMk/>
            <pc:sldMk cId="3381536131" sldId="328"/>
            <ac:spMk id="99" creationId="{58631F59-32AE-F4C9-A709-9310190EF953}"/>
          </ac:spMkLst>
        </pc:spChg>
        <pc:spChg chg="add del mod modVis">
          <ac:chgData name="Lim, Sharon" userId="9ed40bdc-079d-4cee-a990-4411351f7f9c" providerId="ADAL" clId="{DD93C774-82BE-4DBD-AB5E-BA44CCD0E829}" dt="2023-08-31T10:47:54.042" v="52847"/>
          <ac:spMkLst>
            <pc:docMk/>
            <pc:sldMk cId="3381536131" sldId="328"/>
            <ac:spMk id="101" creationId="{600CBB4C-0CBF-050E-D5CD-C54B31915919}"/>
          </ac:spMkLst>
        </pc:spChg>
        <pc:spChg chg="add del mod ord replST">
          <ac:chgData name="Lim, Sharon" userId="9ed40bdc-079d-4cee-a990-4411351f7f9c" providerId="ADAL" clId="{DD93C774-82BE-4DBD-AB5E-BA44CCD0E829}" dt="2023-08-31T10:48:20.123" v="53783"/>
          <ac:spMkLst>
            <pc:docMk/>
            <pc:sldMk cId="3381536131" sldId="328"/>
            <ac:spMk id="102" creationId="{157E2803-2BF7-ABD7-C482-D7A3AD0399C5}"/>
          </ac:spMkLst>
        </pc:spChg>
        <pc:spChg chg="add del mod modVis">
          <ac:chgData name="Lim, Sharon" userId="9ed40bdc-079d-4cee-a990-4411351f7f9c" providerId="ADAL" clId="{DD93C774-82BE-4DBD-AB5E-BA44CCD0E829}" dt="2023-08-31T10:47:57.087" v="52942"/>
          <ac:spMkLst>
            <pc:docMk/>
            <pc:sldMk cId="3381536131" sldId="328"/>
            <ac:spMk id="107" creationId="{5DD73749-AB8C-9FAA-1EFE-4737FB86153C}"/>
          </ac:spMkLst>
        </pc:spChg>
        <pc:spChg chg="add del mod modVis">
          <ac:chgData name="Lim, Sharon" userId="9ed40bdc-079d-4cee-a990-4411351f7f9c" providerId="ADAL" clId="{DD93C774-82BE-4DBD-AB5E-BA44CCD0E829}" dt="2023-08-31T10:47:57.541" v="53042"/>
          <ac:spMkLst>
            <pc:docMk/>
            <pc:sldMk cId="3381536131" sldId="328"/>
            <ac:spMk id="109" creationId="{1ECBFF31-CC60-888B-99F0-41F212BC0D82}"/>
          </ac:spMkLst>
        </pc:spChg>
        <pc:spChg chg="add del mod modVis">
          <ac:chgData name="Lim, Sharon" userId="9ed40bdc-079d-4cee-a990-4411351f7f9c" providerId="ADAL" clId="{DD93C774-82BE-4DBD-AB5E-BA44CCD0E829}" dt="2023-08-31T10:48:00.245" v="53135"/>
          <ac:spMkLst>
            <pc:docMk/>
            <pc:sldMk cId="3381536131" sldId="328"/>
            <ac:spMk id="111" creationId="{1EA9B1A9-D384-EA5E-1D66-A46298685C89}"/>
          </ac:spMkLst>
        </pc:spChg>
        <pc:spChg chg="add del mod modVis">
          <ac:chgData name="Lim, Sharon" userId="9ed40bdc-079d-4cee-a990-4411351f7f9c" providerId="ADAL" clId="{DD93C774-82BE-4DBD-AB5E-BA44CCD0E829}" dt="2023-08-31T10:48:05.379" v="53226"/>
          <ac:spMkLst>
            <pc:docMk/>
            <pc:sldMk cId="3381536131" sldId="328"/>
            <ac:spMk id="113" creationId="{BE418564-B0E6-AF7E-1FA8-5EFE3D881902}"/>
          </ac:spMkLst>
        </pc:spChg>
        <pc:spChg chg="add del mod modVis">
          <ac:chgData name="Lim, Sharon" userId="9ed40bdc-079d-4cee-a990-4411351f7f9c" providerId="ADAL" clId="{DD93C774-82BE-4DBD-AB5E-BA44CCD0E829}" dt="2023-08-31T10:48:07.105" v="53317"/>
          <ac:spMkLst>
            <pc:docMk/>
            <pc:sldMk cId="3381536131" sldId="328"/>
            <ac:spMk id="115" creationId="{14611198-0006-C9B9-15AD-2A1D68322869}"/>
          </ac:spMkLst>
        </pc:spChg>
        <pc:spChg chg="add del mod modVis">
          <ac:chgData name="Lim, Sharon" userId="9ed40bdc-079d-4cee-a990-4411351f7f9c" providerId="ADAL" clId="{DD93C774-82BE-4DBD-AB5E-BA44CCD0E829}" dt="2023-08-31T10:48:10.212" v="53452"/>
          <ac:spMkLst>
            <pc:docMk/>
            <pc:sldMk cId="3381536131" sldId="328"/>
            <ac:spMk id="118" creationId="{1BC90051-294C-CD13-9C9D-1C38D72001F3}"/>
          </ac:spMkLst>
        </pc:spChg>
        <pc:spChg chg="add del mod modVis">
          <ac:chgData name="Lim, Sharon" userId="9ed40bdc-079d-4cee-a990-4411351f7f9c" providerId="ADAL" clId="{DD93C774-82BE-4DBD-AB5E-BA44CCD0E829}" dt="2023-08-31T10:48:14.389" v="53547"/>
          <ac:spMkLst>
            <pc:docMk/>
            <pc:sldMk cId="3381536131" sldId="328"/>
            <ac:spMk id="122" creationId="{127E895C-C709-4514-D3F6-D2E499495B0D}"/>
          </ac:spMkLst>
        </pc:spChg>
        <pc:spChg chg="add del mod modVis">
          <ac:chgData name="Lim, Sharon" userId="9ed40bdc-079d-4cee-a990-4411351f7f9c" providerId="ADAL" clId="{DD93C774-82BE-4DBD-AB5E-BA44CCD0E829}" dt="2023-08-31T10:48:16.475" v="53642"/>
          <ac:spMkLst>
            <pc:docMk/>
            <pc:sldMk cId="3381536131" sldId="328"/>
            <ac:spMk id="124" creationId="{13AEC0DE-2D2F-67C9-14C3-0AAF2E81D958}"/>
          </ac:spMkLst>
        </pc:spChg>
        <pc:spChg chg="add del mod modVis">
          <ac:chgData name="Lim, Sharon" userId="9ed40bdc-079d-4cee-a990-4411351f7f9c" providerId="ADAL" clId="{DD93C774-82BE-4DBD-AB5E-BA44CCD0E829}" dt="2023-08-31T10:48:19.986" v="53735"/>
          <ac:spMkLst>
            <pc:docMk/>
            <pc:sldMk cId="3381536131" sldId="328"/>
            <ac:spMk id="126" creationId="{0878A243-C396-185B-9282-8607EE1A9626}"/>
          </ac:spMkLst>
        </pc:spChg>
        <pc:spChg chg="add del mod modVis">
          <ac:chgData name="Lim, Sharon" userId="9ed40bdc-079d-4cee-a990-4411351f7f9c" providerId="ADAL" clId="{DD93C774-82BE-4DBD-AB5E-BA44CCD0E829}" dt="2023-08-31T10:48:20.227" v="53845"/>
          <ac:spMkLst>
            <pc:docMk/>
            <pc:sldMk cId="3381536131" sldId="328"/>
            <ac:spMk id="128" creationId="{19438E31-7DA0-0735-CAF4-DCDAE90B480E}"/>
          </ac:spMkLst>
        </pc:spChg>
        <pc:spChg chg="add del mod modVis">
          <ac:chgData name="Lim, Sharon" userId="9ed40bdc-079d-4cee-a990-4411351f7f9c" providerId="ADAL" clId="{DD93C774-82BE-4DBD-AB5E-BA44CCD0E829}" dt="2023-08-31T10:48:29.138" v="54017"/>
          <ac:spMkLst>
            <pc:docMk/>
            <pc:sldMk cId="3381536131" sldId="328"/>
            <ac:spMk id="131" creationId="{8C7FC72A-49AB-CC9F-A096-4D2F514C0F4B}"/>
          </ac:spMkLst>
        </pc:spChg>
        <pc:spChg chg="add del mod replST">
          <ac:chgData name="Lim, Sharon" userId="9ed40bdc-079d-4cee-a990-4411351f7f9c" providerId="ADAL" clId="{DD93C774-82BE-4DBD-AB5E-BA44CCD0E829}" dt="2023-08-31T10:48:30.589" v="54064"/>
          <ac:spMkLst>
            <pc:docMk/>
            <pc:sldMk cId="3381536131" sldId="328"/>
            <ac:spMk id="132" creationId="{157E2803-2BF7-ABD7-C482-D7A3AD0399C5}"/>
          </ac:spMkLst>
        </pc:spChg>
        <pc:spChg chg="add del mod modVis">
          <ac:chgData name="Lim, Sharon" userId="9ed40bdc-079d-4cee-a990-4411351f7f9c" providerId="ADAL" clId="{DD93C774-82BE-4DBD-AB5E-BA44CCD0E829}" dt="2023-08-31T10:48:30.659" v="54111"/>
          <ac:spMkLst>
            <pc:docMk/>
            <pc:sldMk cId="3381536131" sldId="328"/>
            <ac:spMk id="134" creationId="{AF0CC298-AE98-2B21-E60F-F3BE8B457CF6}"/>
          </ac:spMkLst>
        </pc:spChg>
        <pc:spChg chg="add del mod modVis">
          <ac:chgData name="Lim, Sharon" userId="9ed40bdc-079d-4cee-a990-4411351f7f9c" providerId="ADAL" clId="{DD93C774-82BE-4DBD-AB5E-BA44CCD0E829}" dt="2023-08-31T10:48:30.950" v="54220"/>
          <ac:spMkLst>
            <pc:docMk/>
            <pc:sldMk cId="3381536131" sldId="328"/>
            <ac:spMk id="136" creationId="{1670543E-BB30-86DB-A4CD-6706F60AAAD5}"/>
          </ac:spMkLst>
        </pc:spChg>
        <pc:spChg chg="add del mod modVis">
          <ac:chgData name="Lim, Sharon" userId="9ed40bdc-079d-4cee-a990-4411351f7f9c" providerId="ADAL" clId="{DD93C774-82BE-4DBD-AB5E-BA44CCD0E829}" dt="2023-08-31T10:48:33.388" v="54324"/>
          <ac:spMkLst>
            <pc:docMk/>
            <pc:sldMk cId="3381536131" sldId="328"/>
            <ac:spMk id="139" creationId="{9945B418-FCE3-C788-6B94-12F7332E1286}"/>
          </ac:spMkLst>
        </pc:spChg>
        <pc:spChg chg="add del mod modVis">
          <ac:chgData name="Lim, Sharon" userId="9ed40bdc-079d-4cee-a990-4411351f7f9c" providerId="ADAL" clId="{DD93C774-82BE-4DBD-AB5E-BA44CCD0E829}" dt="2023-08-31T10:48:35.904" v="54498"/>
          <ac:spMkLst>
            <pc:docMk/>
            <pc:sldMk cId="3381536131" sldId="328"/>
            <ac:spMk id="141" creationId="{C397116A-4497-48DD-74A7-BDBEB920EBFF}"/>
          </ac:spMkLst>
        </pc:spChg>
        <pc:spChg chg="add del mod replST">
          <ac:chgData name="Lim, Sharon" userId="9ed40bdc-079d-4cee-a990-4411351f7f9c" providerId="ADAL" clId="{DD93C774-82BE-4DBD-AB5E-BA44CCD0E829}" dt="2023-08-31T10:48:37.241" v="54545"/>
          <ac:spMkLst>
            <pc:docMk/>
            <pc:sldMk cId="3381536131" sldId="328"/>
            <ac:spMk id="142" creationId="{157E2803-2BF7-ABD7-C482-D7A3AD0399C5}"/>
          </ac:spMkLst>
        </pc:spChg>
        <pc:spChg chg="add del mod modVis">
          <ac:chgData name="Lim, Sharon" userId="9ed40bdc-079d-4cee-a990-4411351f7f9c" providerId="ADAL" clId="{DD93C774-82BE-4DBD-AB5E-BA44CCD0E829}" dt="2023-08-31T10:48:37.328" v="54594"/>
          <ac:spMkLst>
            <pc:docMk/>
            <pc:sldMk cId="3381536131" sldId="328"/>
            <ac:spMk id="144" creationId="{D96076DF-59F7-93C2-E90B-EEBBBD0961F8}"/>
          </ac:spMkLst>
        </pc:spChg>
        <pc:spChg chg="add del mod modVis">
          <ac:chgData name="Lim, Sharon" userId="9ed40bdc-079d-4cee-a990-4411351f7f9c" providerId="ADAL" clId="{DD93C774-82BE-4DBD-AB5E-BA44CCD0E829}" dt="2023-08-31T10:48:37.953" v="54700"/>
          <ac:spMkLst>
            <pc:docMk/>
            <pc:sldMk cId="3381536131" sldId="328"/>
            <ac:spMk id="146" creationId="{2A7E664A-5E79-9268-C9E6-85C595865A9E}"/>
          </ac:spMkLst>
        </pc:spChg>
        <pc:spChg chg="add mod ord">
          <ac:chgData name="Lim, Sharon" userId="9ed40bdc-079d-4cee-a990-4411351f7f9c" providerId="ADAL" clId="{DD93C774-82BE-4DBD-AB5E-BA44CCD0E829}" dt="2023-09-01T03:27:30.507" v="66936"/>
          <ac:spMkLst>
            <pc:docMk/>
            <pc:sldMk cId="3381536131" sldId="328"/>
            <ac:spMk id="148" creationId="{2A5A37EC-A4FE-DC48-0707-625A8E7B0952}"/>
          </ac:spMkLst>
        </pc:spChg>
        <pc:spChg chg="add del mod modVis">
          <ac:chgData name="Lim, Sharon" userId="9ed40bdc-079d-4cee-a990-4411351f7f9c" providerId="ADAL" clId="{DD93C774-82BE-4DBD-AB5E-BA44CCD0E829}" dt="2023-08-31T11:00:34.090" v="55815"/>
          <ac:spMkLst>
            <pc:docMk/>
            <pc:sldMk cId="3381536131" sldId="328"/>
            <ac:spMk id="149" creationId="{BBA14F8C-37A4-07FA-82DE-D77B40EBB358}"/>
          </ac:spMkLst>
        </pc:spChg>
        <pc:spChg chg="add del mod modVis">
          <ac:chgData name="Lim, Sharon" userId="9ed40bdc-079d-4cee-a990-4411351f7f9c" providerId="ADAL" clId="{DD93C774-82BE-4DBD-AB5E-BA44CCD0E829}" dt="2023-08-31T11:00:37.131" v="56096"/>
          <ac:spMkLst>
            <pc:docMk/>
            <pc:sldMk cId="3381536131" sldId="328"/>
            <ac:spMk id="151" creationId="{0D28CA0E-3784-86B3-4560-6E7274C52D6B}"/>
          </ac:spMkLst>
        </pc:spChg>
        <pc:spChg chg="add del mod ord replST">
          <ac:chgData name="Lim, Sharon" userId="9ed40bdc-079d-4cee-a990-4411351f7f9c" providerId="ADAL" clId="{DD93C774-82BE-4DBD-AB5E-BA44CCD0E829}" dt="2023-08-31T11:02:56.613" v="59874"/>
          <ac:spMkLst>
            <pc:docMk/>
            <pc:sldMk cId="3381536131" sldId="328"/>
            <ac:spMk id="152" creationId="{157E2803-2BF7-ABD7-C482-D7A3AD0399C5}"/>
          </ac:spMkLst>
        </pc:spChg>
        <pc:spChg chg="add del mod ord replST">
          <ac:chgData name="Lim, Sharon" userId="9ed40bdc-079d-4cee-a990-4411351f7f9c" providerId="ADAL" clId="{DD93C774-82BE-4DBD-AB5E-BA44CCD0E829}" dt="2023-09-01T03:27:30.399" v="66901"/>
          <ac:spMkLst>
            <pc:docMk/>
            <pc:sldMk cId="3381536131" sldId="328"/>
            <ac:spMk id="153" creationId="{157E2803-2BF7-ABD7-C482-D7A3AD0399C5}"/>
          </ac:spMkLst>
        </pc:spChg>
        <pc:spChg chg="add del mod modVis">
          <ac:chgData name="Lim, Sharon" userId="9ed40bdc-079d-4cee-a990-4411351f7f9c" providerId="ADAL" clId="{DD93C774-82BE-4DBD-AB5E-BA44CCD0E829}" dt="2023-08-31T11:00:39.461" v="56236"/>
          <ac:spMkLst>
            <pc:docMk/>
            <pc:sldMk cId="3381536131" sldId="328"/>
            <ac:spMk id="156" creationId="{2E235B94-641C-9E0A-B683-66020A9F2819}"/>
          </ac:spMkLst>
        </pc:spChg>
        <pc:spChg chg="add del mod modVis">
          <ac:chgData name="Lim, Sharon" userId="9ed40bdc-079d-4cee-a990-4411351f7f9c" providerId="ADAL" clId="{DD93C774-82BE-4DBD-AB5E-BA44CCD0E829}" dt="2023-08-31T11:01:40.431" v="58421"/>
          <ac:spMkLst>
            <pc:docMk/>
            <pc:sldMk cId="3381536131" sldId="328"/>
            <ac:spMk id="158" creationId="{C11A62F6-A886-E73A-E5E3-C4D2C123CA55}"/>
          </ac:spMkLst>
        </pc:spChg>
        <pc:spChg chg="add mod replST delST">
          <ac:chgData name="Lim, Sharon" userId="9ed40bdc-079d-4cee-a990-4411351f7f9c" providerId="ADAL" clId="{DD93C774-82BE-4DBD-AB5E-BA44CCD0E829}" dt="2023-08-31T11:01:40.431" v="58421"/>
          <ac:spMkLst>
            <pc:docMk/>
            <pc:sldMk cId="3381536131" sldId="328"/>
            <ac:spMk id="159" creationId="{157E2803-2BF7-ABD7-C482-D7A3AD0399C5}"/>
          </ac:spMkLst>
        </pc:spChg>
        <pc:spChg chg="add mod replST delST">
          <ac:chgData name="Lim, Sharon" userId="9ed40bdc-079d-4cee-a990-4411351f7f9c" providerId="ADAL" clId="{DD93C774-82BE-4DBD-AB5E-BA44CCD0E829}" dt="2023-08-31T11:01:40.431" v="58421"/>
          <ac:spMkLst>
            <pc:docMk/>
            <pc:sldMk cId="3381536131" sldId="328"/>
            <ac:spMk id="160" creationId="{157E2803-2BF7-ABD7-C482-D7A3AD0399C5}"/>
          </ac:spMkLst>
        </pc:spChg>
        <pc:spChg chg="add mod replST delST">
          <ac:chgData name="Lim, Sharon" userId="9ed40bdc-079d-4cee-a990-4411351f7f9c" providerId="ADAL" clId="{DD93C774-82BE-4DBD-AB5E-BA44CCD0E829}" dt="2023-08-31T11:01:40.431" v="58421"/>
          <ac:spMkLst>
            <pc:docMk/>
            <pc:sldMk cId="3381536131" sldId="328"/>
            <ac:spMk id="161" creationId="{157E2803-2BF7-ABD7-C482-D7A3AD0399C5}"/>
          </ac:spMkLst>
        </pc:spChg>
        <pc:spChg chg="add del mod replST delST">
          <ac:chgData name="Lim, Sharon" userId="9ed40bdc-079d-4cee-a990-4411351f7f9c" providerId="ADAL" clId="{DD93C774-82BE-4DBD-AB5E-BA44CCD0E829}" dt="2023-08-31T11:01:40.431" v="58421"/>
          <ac:spMkLst>
            <pc:docMk/>
            <pc:sldMk cId="3381536131" sldId="328"/>
            <ac:spMk id="162" creationId="{157E2803-2BF7-ABD7-C482-D7A3AD0399C5}"/>
          </ac:spMkLst>
        </pc:spChg>
        <pc:spChg chg="add mod replST delST">
          <ac:chgData name="Lim, Sharon" userId="9ed40bdc-079d-4cee-a990-4411351f7f9c" providerId="ADAL" clId="{DD93C774-82BE-4DBD-AB5E-BA44CCD0E829}" dt="2023-08-31T11:01:40.431" v="58421"/>
          <ac:spMkLst>
            <pc:docMk/>
            <pc:sldMk cId="3381536131" sldId="328"/>
            <ac:spMk id="163" creationId="{157E2803-2BF7-ABD7-C482-D7A3AD0399C5}"/>
          </ac:spMkLst>
        </pc:spChg>
        <pc:spChg chg="add del mod replST delST">
          <ac:chgData name="Lim, Sharon" userId="9ed40bdc-079d-4cee-a990-4411351f7f9c" providerId="ADAL" clId="{DD93C774-82BE-4DBD-AB5E-BA44CCD0E829}" dt="2023-08-31T11:01:40.431" v="58421"/>
          <ac:spMkLst>
            <pc:docMk/>
            <pc:sldMk cId="3381536131" sldId="328"/>
            <ac:spMk id="164" creationId="{157E2803-2BF7-ABD7-C482-D7A3AD0399C5}"/>
          </ac:spMkLst>
        </pc:spChg>
        <pc:spChg chg="add mod replST delST">
          <ac:chgData name="Lim, Sharon" userId="9ed40bdc-079d-4cee-a990-4411351f7f9c" providerId="ADAL" clId="{DD93C774-82BE-4DBD-AB5E-BA44CCD0E829}" dt="2023-08-31T11:01:40.431" v="58421"/>
          <ac:spMkLst>
            <pc:docMk/>
            <pc:sldMk cId="3381536131" sldId="328"/>
            <ac:spMk id="165" creationId="{157E2803-2BF7-ABD7-C482-D7A3AD0399C5}"/>
          </ac:spMkLst>
        </pc:spChg>
        <pc:spChg chg="add del mod modVis">
          <ac:chgData name="Lim, Sharon" userId="9ed40bdc-079d-4cee-a990-4411351f7f9c" providerId="ADAL" clId="{DD93C774-82BE-4DBD-AB5E-BA44CCD0E829}" dt="2023-08-31T11:01:38.828" v="57717"/>
          <ac:spMkLst>
            <pc:docMk/>
            <pc:sldMk cId="3381536131" sldId="328"/>
            <ac:spMk id="167" creationId="{A2F339C3-8B23-07B7-AD96-8FA48709AE37}"/>
          </ac:spMkLst>
        </pc:spChg>
        <pc:spChg chg="add del mod modVis">
          <ac:chgData name="Lim, Sharon" userId="9ed40bdc-079d-4cee-a990-4411351f7f9c" providerId="ADAL" clId="{DD93C774-82BE-4DBD-AB5E-BA44CCD0E829}" dt="2023-08-31T11:01:37.502" v="57293"/>
          <ac:spMkLst>
            <pc:docMk/>
            <pc:sldMk cId="3381536131" sldId="328"/>
            <ac:spMk id="169" creationId="{B9BE343B-4EBA-CE61-80B9-3212163B9700}"/>
          </ac:spMkLst>
        </pc:spChg>
        <pc:spChg chg="add del mod">
          <ac:chgData name="Lim, Sharon" userId="9ed40bdc-079d-4cee-a990-4411351f7f9c" providerId="ADAL" clId="{DD93C774-82BE-4DBD-AB5E-BA44CCD0E829}" dt="2023-08-31T11:01:37.124" v="57225"/>
          <ac:spMkLst>
            <pc:docMk/>
            <pc:sldMk cId="3381536131" sldId="328"/>
            <ac:spMk id="171" creationId="{0A216E49-5BBB-42C4-AD6B-99D24644DB0B}"/>
          </ac:spMkLst>
        </pc:spChg>
        <pc:spChg chg="add del mod">
          <ac:chgData name="Lim, Sharon" userId="9ed40bdc-079d-4cee-a990-4411351f7f9c" providerId="ADAL" clId="{DD93C774-82BE-4DBD-AB5E-BA44CCD0E829}" dt="2023-08-31T11:01:37.124" v="57225"/>
          <ac:spMkLst>
            <pc:docMk/>
            <pc:sldMk cId="3381536131" sldId="328"/>
            <ac:spMk id="172" creationId="{BD8E9BE0-FE35-6390-6958-D97CC8E9B406}"/>
          </ac:spMkLst>
        </pc:spChg>
        <pc:spChg chg="add del mod modVis">
          <ac:chgData name="Lim, Sharon" userId="9ed40bdc-079d-4cee-a990-4411351f7f9c" providerId="ADAL" clId="{DD93C774-82BE-4DBD-AB5E-BA44CCD0E829}" dt="2023-08-31T11:01:38.828" v="57717"/>
          <ac:spMkLst>
            <pc:docMk/>
            <pc:sldMk cId="3381536131" sldId="328"/>
            <ac:spMk id="173" creationId="{35E14F91-0FE0-A162-F61E-DB333D8BEA46}"/>
          </ac:spMkLst>
        </pc:spChg>
        <pc:spChg chg="add del mod modVis">
          <ac:chgData name="Lim, Sharon" userId="9ed40bdc-079d-4cee-a990-4411351f7f9c" providerId="ADAL" clId="{DD93C774-82BE-4DBD-AB5E-BA44CCD0E829}" dt="2023-08-31T11:01:40.431" v="58421"/>
          <ac:spMkLst>
            <pc:docMk/>
            <pc:sldMk cId="3381536131" sldId="328"/>
            <ac:spMk id="175" creationId="{07B7FC0B-5746-4841-8AF3-B10F6C06E004}"/>
          </ac:spMkLst>
        </pc:spChg>
        <pc:spChg chg="add del mod modVis">
          <ac:chgData name="Lim, Sharon" userId="9ed40bdc-079d-4cee-a990-4411351f7f9c" providerId="ADAL" clId="{DD93C774-82BE-4DBD-AB5E-BA44CCD0E829}" dt="2023-08-31T11:01:44.374" v="59084"/>
          <ac:spMkLst>
            <pc:docMk/>
            <pc:sldMk cId="3381536131" sldId="328"/>
            <ac:spMk id="177" creationId="{4B95C3BC-F271-26AF-9792-3DF18CC81063}"/>
          </ac:spMkLst>
        </pc:spChg>
        <pc:spChg chg="add del mod replST">
          <ac:chgData name="Lim, Sharon" userId="9ed40bdc-079d-4cee-a990-4411351f7f9c" providerId="ADAL" clId="{DD93C774-82BE-4DBD-AB5E-BA44CCD0E829}" dt="2023-09-01T03:27:30.390" v="66896"/>
          <ac:spMkLst>
            <pc:docMk/>
            <pc:sldMk cId="3381536131" sldId="328"/>
            <ac:spMk id="178" creationId="{157E2803-2BF7-ABD7-C482-D7A3AD0399C5}"/>
          </ac:spMkLst>
        </pc:spChg>
        <pc:spChg chg="add del mod replST">
          <ac:chgData name="Lim, Sharon" userId="9ed40bdc-079d-4cee-a990-4411351f7f9c" providerId="ADAL" clId="{DD93C774-82BE-4DBD-AB5E-BA44CCD0E829}" dt="2023-09-01T03:27:30.392" v="66897"/>
          <ac:spMkLst>
            <pc:docMk/>
            <pc:sldMk cId="3381536131" sldId="328"/>
            <ac:spMk id="179" creationId="{157E2803-2BF7-ABD7-C482-D7A3AD0399C5}"/>
          </ac:spMkLst>
        </pc:spChg>
        <pc:spChg chg="add del mod replST">
          <ac:chgData name="Lim, Sharon" userId="9ed40bdc-079d-4cee-a990-4411351f7f9c" providerId="ADAL" clId="{DD93C774-82BE-4DBD-AB5E-BA44CCD0E829}" dt="2023-08-31T11:01:45.244" v="59087"/>
          <ac:spMkLst>
            <pc:docMk/>
            <pc:sldMk cId="3381536131" sldId="328"/>
            <ac:spMk id="180" creationId="{157E2803-2BF7-ABD7-C482-D7A3AD0399C5}"/>
          </ac:spMkLst>
        </pc:spChg>
        <pc:spChg chg="add del mod replST">
          <ac:chgData name="Lim, Sharon" userId="9ed40bdc-079d-4cee-a990-4411351f7f9c" providerId="ADAL" clId="{DD93C774-82BE-4DBD-AB5E-BA44CCD0E829}" dt="2023-09-01T03:27:30.393" v="66898"/>
          <ac:spMkLst>
            <pc:docMk/>
            <pc:sldMk cId="3381536131" sldId="328"/>
            <ac:spMk id="181" creationId="{157E2803-2BF7-ABD7-C482-D7A3AD0399C5}"/>
          </ac:spMkLst>
        </pc:spChg>
        <pc:spChg chg="add del mod replST">
          <ac:chgData name="Lim, Sharon" userId="9ed40bdc-079d-4cee-a990-4411351f7f9c" providerId="ADAL" clId="{DD93C774-82BE-4DBD-AB5E-BA44CCD0E829}" dt="2023-08-31T11:01:47.674" v="59204"/>
          <ac:spMkLst>
            <pc:docMk/>
            <pc:sldMk cId="3381536131" sldId="328"/>
            <ac:spMk id="182" creationId="{157E2803-2BF7-ABD7-C482-D7A3AD0399C5}"/>
          </ac:spMkLst>
        </pc:spChg>
        <pc:spChg chg="add del mod replST">
          <ac:chgData name="Lim, Sharon" userId="9ed40bdc-079d-4cee-a990-4411351f7f9c" providerId="ADAL" clId="{DD93C774-82BE-4DBD-AB5E-BA44CCD0E829}" dt="2023-09-01T03:27:30.395" v="66899"/>
          <ac:spMkLst>
            <pc:docMk/>
            <pc:sldMk cId="3381536131" sldId="328"/>
            <ac:spMk id="183" creationId="{157E2803-2BF7-ABD7-C482-D7A3AD0399C5}"/>
          </ac:spMkLst>
        </pc:spChg>
        <pc:spChg chg="add del mod replST">
          <ac:chgData name="Lim, Sharon" userId="9ed40bdc-079d-4cee-a990-4411351f7f9c" providerId="ADAL" clId="{DD93C774-82BE-4DBD-AB5E-BA44CCD0E829}" dt="2023-08-31T11:01:49.651" v="59319"/>
          <ac:spMkLst>
            <pc:docMk/>
            <pc:sldMk cId="3381536131" sldId="328"/>
            <ac:spMk id="184" creationId="{157E2803-2BF7-ABD7-C482-D7A3AD0399C5}"/>
          </ac:spMkLst>
        </pc:spChg>
        <pc:spChg chg="add del mod modVis">
          <ac:chgData name="Lim, Sharon" userId="9ed40bdc-079d-4cee-a990-4411351f7f9c" providerId="ADAL" clId="{DD93C774-82BE-4DBD-AB5E-BA44CCD0E829}" dt="2023-08-31T11:01:45.624" v="59201"/>
          <ac:spMkLst>
            <pc:docMk/>
            <pc:sldMk cId="3381536131" sldId="328"/>
            <ac:spMk id="186" creationId="{3F29018D-5E42-B648-F912-05E7DF74929E}"/>
          </ac:spMkLst>
        </pc:spChg>
        <pc:spChg chg="add del mod modVis">
          <ac:chgData name="Lim, Sharon" userId="9ed40bdc-079d-4cee-a990-4411351f7f9c" providerId="ADAL" clId="{DD93C774-82BE-4DBD-AB5E-BA44CCD0E829}" dt="2023-08-31T11:01:48.005" v="59316"/>
          <ac:spMkLst>
            <pc:docMk/>
            <pc:sldMk cId="3381536131" sldId="328"/>
            <ac:spMk id="188" creationId="{EBE5E9FB-E6F2-577C-7FDA-34A26F5667AA}"/>
          </ac:spMkLst>
        </pc:spChg>
        <pc:spChg chg="add del mod modVis">
          <ac:chgData name="Lim, Sharon" userId="9ed40bdc-079d-4cee-a990-4411351f7f9c" providerId="ADAL" clId="{DD93C774-82BE-4DBD-AB5E-BA44CCD0E829}" dt="2023-08-31T11:01:49.936" v="59429"/>
          <ac:spMkLst>
            <pc:docMk/>
            <pc:sldMk cId="3381536131" sldId="328"/>
            <ac:spMk id="190" creationId="{4D54D352-A7E6-F797-96A5-B2A11FE7517E}"/>
          </ac:spMkLst>
        </pc:spChg>
        <pc:spChg chg="add del mod modVis">
          <ac:chgData name="Lim, Sharon" userId="9ed40bdc-079d-4cee-a990-4411351f7f9c" providerId="ADAL" clId="{DD93C774-82BE-4DBD-AB5E-BA44CCD0E829}" dt="2023-08-31T11:01:54.196" v="59585"/>
          <ac:spMkLst>
            <pc:docMk/>
            <pc:sldMk cId="3381536131" sldId="328"/>
            <ac:spMk id="192" creationId="{798C8DE7-30A7-C01A-BC9D-783355B1901E}"/>
          </ac:spMkLst>
        </pc:spChg>
        <pc:spChg chg="add del mod ord">
          <ac:chgData name="Lim, Sharon" userId="9ed40bdc-079d-4cee-a990-4411351f7f9c" providerId="ADAL" clId="{DD93C774-82BE-4DBD-AB5E-BA44CCD0E829}" dt="2023-09-01T02:46:01.350" v="66410" actId="478"/>
          <ac:spMkLst>
            <pc:docMk/>
            <pc:sldMk cId="3381536131" sldId="328"/>
            <ac:spMk id="194" creationId="{18C39292-5C89-6491-063A-ACD2FF3C5487}"/>
          </ac:spMkLst>
        </pc:spChg>
        <pc:spChg chg="add del mod ord">
          <ac:chgData name="Lim, Sharon" userId="9ed40bdc-079d-4cee-a990-4411351f7f9c" providerId="ADAL" clId="{DD93C774-82BE-4DBD-AB5E-BA44CCD0E829}" dt="2023-09-01T02:46:01.350" v="66410" actId="478"/>
          <ac:spMkLst>
            <pc:docMk/>
            <pc:sldMk cId="3381536131" sldId="328"/>
            <ac:spMk id="195" creationId="{BC5E1F38-5241-1A0F-A83C-CA3E5236C884}"/>
          </ac:spMkLst>
        </pc:spChg>
        <pc:spChg chg="add del mod modVis">
          <ac:chgData name="Lim, Sharon" userId="9ed40bdc-079d-4cee-a990-4411351f7f9c" providerId="ADAL" clId="{DD93C774-82BE-4DBD-AB5E-BA44CCD0E829}" dt="2023-08-31T11:02:54.017" v="59752"/>
          <ac:spMkLst>
            <pc:docMk/>
            <pc:sldMk cId="3381536131" sldId="328"/>
            <ac:spMk id="196" creationId="{6C35327C-3C65-8FA4-65D4-D447575C5C90}"/>
          </ac:spMkLst>
        </pc:spChg>
        <pc:spChg chg="add del mod modVis">
          <ac:chgData name="Lim, Sharon" userId="9ed40bdc-079d-4cee-a990-4411351f7f9c" providerId="ADAL" clId="{DD93C774-82BE-4DBD-AB5E-BA44CCD0E829}" dt="2023-08-31T11:02:55.551" v="59868"/>
          <ac:spMkLst>
            <pc:docMk/>
            <pc:sldMk cId="3381536131" sldId="328"/>
            <ac:spMk id="198" creationId="{D1653033-D236-7B21-3A5E-CE23742B6D56}"/>
          </ac:spMkLst>
        </pc:spChg>
        <pc:spChg chg="add del mod modVis">
          <ac:chgData name="Lim, Sharon" userId="9ed40bdc-079d-4cee-a990-4411351f7f9c" providerId="ADAL" clId="{DD93C774-82BE-4DBD-AB5E-BA44CCD0E829}" dt="2023-08-31T11:02:56.936" v="59981"/>
          <ac:spMkLst>
            <pc:docMk/>
            <pc:sldMk cId="3381536131" sldId="328"/>
            <ac:spMk id="200" creationId="{85104D7C-6CAF-6A56-E7F0-1B28848C30D0}"/>
          </ac:spMkLst>
        </pc:spChg>
        <pc:spChg chg="add del mod modVis">
          <ac:chgData name="Lim, Sharon" userId="9ed40bdc-079d-4cee-a990-4411351f7f9c" providerId="ADAL" clId="{DD93C774-82BE-4DBD-AB5E-BA44CCD0E829}" dt="2023-08-31T11:02:59.095" v="60090"/>
          <ac:spMkLst>
            <pc:docMk/>
            <pc:sldMk cId="3381536131" sldId="328"/>
            <ac:spMk id="202" creationId="{AB4C8B2E-5E43-BB12-2F3C-F57CDC12B86E}"/>
          </ac:spMkLst>
        </pc:spChg>
        <pc:spChg chg="add del mod modVis">
          <ac:chgData name="Lim, Sharon" userId="9ed40bdc-079d-4cee-a990-4411351f7f9c" providerId="ADAL" clId="{DD93C774-82BE-4DBD-AB5E-BA44CCD0E829}" dt="2023-08-31T11:03:00.463" v="60197"/>
          <ac:spMkLst>
            <pc:docMk/>
            <pc:sldMk cId="3381536131" sldId="328"/>
            <ac:spMk id="204" creationId="{C68A4AC7-249B-C600-A7E9-5EBCB5C71668}"/>
          </ac:spMkLst>
        </pc:spChg>
        <pc:spChg chg="add del mod modVis">
          <ac:chgData name="Lim, Sharon" userId="9ed40bdc-079d-4cee-a990-4411351f7f9c" providerId="ADAL" clId="{DD93C774-82BE-4DBD-AB5E-BA44CCD0E829}" dt="2023-08-31T11:03:01.738" v="60302"/>
          <ac:spMkLst>
            <pc:docMk/>
            <pc:sldMk cId="3381536131" sldId="328"/>
            <ac:spMk id="206" creationId="{1F012794-4545-0287-626D-9A137E4AB950}"/>
          </ac:spMkLst>
        </pc:spChg>
        <pc:spChg chg="add del mod modVis">
          <ac:chgData name="Lim, Sharon" userId="9ed40bdc-079d-4cee-a990-4411351f7f9c" providerId="ADAL" clId="{DD93C774-82BE-4DBD-AB5E-BA44CCD0E829}" dt="2023-08-31T11:03:03.403" v="60405"/>
          <ac:spMkLst>
            <pc:docMk/>
            <pc:sldMk cId="3381536131" sldId="328"/>
            <ac:spMk id="208" creationId="{8E575A41-D8D2-50C5-63CB-E983EC40FC09}"/>
          </ac:spMkLst>
        </pc:spChg>
        <pc:spChg chg="add del mod">
          <ac:chgData name="Lim, Sharon" userId="9ed40bdc-079d-4cee-a990-4411351f7f9c" providerId="ADAL" clId="{DD93C774-82BE-4DBD-AB5E-BA44CCD0E829}" dt="2023-08-31T11:28:43.372" v="60444" actId="478"/>
          <ac:spMkLst>
            <pc:docMk/>
            <pc:sldMk cId="3381536131" sldId="328"/>
            <ac:spMk id="210" creationId="{4BB355B0-ABA9-70D1-5005-B5AA7E08CFB4}"/>
          </ac:spMkLst>
        </pc:spChg>
        <pc:spChg chg="add del mod">
          <ac:chgData name="Lim, Sharon" userId="9ed40bdc-079d-4cee-a990-4411351f7f9c" providerId="ADAL" clId="{DD93C774-82BE-4DBD-AB5E-BA44CCD0E829}" dt="2023-08-31T11:28:43.372" v="60444" actId="478"/>
          <ac:spMkLst>
            <pc:docMk/>
            <pc:sldMk cId="3381536131" sldId="328"/>
            <ac:spMk id="211" creationId="{871D4410-1145-7825-1B27-675242392CD9}"/>
          </ac:spMkLst>
        </pc:spChg>
        <pc:spChg chg="add del mod">
          <ac:chgData name="Lim, Sharon" userId="9ed40bdc-079d-4cee-a990-4411351f7f9c" providerId="ADAL" clId="{DD93C774-82BE-4DBD-AB5E-BA44CCD0E829}" dt="2023-08-31T11:28:43.372" v="60444" actId="478"/>
          <ac:spMkLst>
            <pc:docMk/>
            <pc:sldMk cId="3381536131" sldId="328"/>
            <ac:spMk id="212" creationId="{B6EEEA4D-B03C-5FF1-AA25-FCD65B4FD8A6}"/>
          </ac:spMkLst>
        </pc:spChg>
        <pc:spChg chg="add del mod">
          <ac:chgData name="Lim, Sharon" userId="9ed40bdc-079d-4cee-a990-4411351f7f9c" providerId="ADAL" clId="{DD93C774-82BE-4DBD-AB5E-BA44CCD0E829}" dt="2023-08-31T11:28:43.372" v="60444" actId="478"/>
          <ac:spMkLst>
            <pc:docMk/>
            <pc:sldMk cId="3381536131" sldId="328"/>
            <ac:spMk id="213" creationId="{D0659F21-6D37-A702-9611-76BD07257B89}"/>
          </ac:spMkLst>
        </pc:spChg>
        <pc:spChg chg="add del mod modVis">
          <ac:chgData name="Lim, Sharon" userId="9ed40bdc-079d-4cee-a990-4411351f7f9c" providerId="ADAL" clId="{DD93C774-82BE-4DBD-AB5E-BA44CCD0E829}" dt="2023-09-01T02:11:35.957" v="66167"/>
          <ac:spMkLst>
            <pc:docMk/>
            <pc:sldMk cId="3381536131" sldId="328"/>
            <ac:spMk id="216" creationId="{9C9EEF19-EE4D-77B6-AB13-ED96DBB5EF15}"/>
          </ac:spMkLst>
        </pc:spChg>
        <pc:spChg chg="add mod ord">
          <ac:chgData name="Lim, Sharon" userId="9ed40bdc-079d-4cee-a990-4411351f7f9c" providerId="ADAL" clId="{DD93C774-82BE-4DBD-AB5E-BA44CCD0E829}" dt="2023-09-01T03:27:30.510" v="66938"/>
          <ac:spMkLst>
            <pc:docMk/>
            <pc:sldMk cId="3381536131" sldId="328"/>
            <ac:spMk id="218" creationId="{D106A2EA-EAC4-0888-DEA2-E25AFEE01678}"/>
          </ac:spMkLst>
        </pc:spChg>
        <pc:spChg chg="add del mod modVis">
          <ac:chgData name="Lim, Sharon" userId="9ed40bdc-079d-4cee-a990-4411351f7f9c" providerId="ADAL" clId="{DD93C774-82BE-4DBD-AB5E-BA44CCD0E829}" dt="2023-09-01T03:27:30.514" v="66942"/>
          <ac:spMkLst>
            <pc:docMk/>
            <pc:sldMk cId="3381536131" sldId="328"/>
            <ac:spMk id="219" creationId="{6B838D56-4E4D-9A93-1597-79D3E48A34E1}"/>
          </ac:spMkLst>
        </pc:spChg>
        <pc:graphicFrameChg chg="mod">
          <ac:chgData name="Lim, Sharon" userId="9ed40bdc-079d-4cee-a990-4411351f7f9c" providerId="ADAL" clId="{DD93C774-82BE-4DBD-AB5E-BA44CCD0E829}" dt="2023-09-01T03:27:30.530" v="66944"/>
          <ac:graphicFrameMkLst>
            <pc:docMk/>
            <pc:sldMk cId="3381536131" sldId="328"/>
            <ac:graphicFrameMk id="4" creationId="{DF641BDA-2511-C092-BA40-27C321E82FFD}"/>
          </ac:graphicFrameMkLst>
        </pc:graphicFrameChg>
        <pc:graphicFrameChg chg="add del mod replST">
          <ac:chgData name="Lim, Sharon" userId="9ed40bdc-079d-4cee-a990-4411351f7f9c" providerId="ADAL" clId="{DD93C774-82BE-4DBD-AB5E-BA44CCD0E829}" dt="2023-08-31T10:44:57.989" v="48058"/>
          <ac:graphicFrameMkLst>
            <pc:docMk/>
            <pc:sldMk cId="3381536131" sldId="328"/>
            <ac:graphicFrameMk id="10" creationId="{0D853E5F-441A-1DC2-1E13-0646DDFE9112}"/>
          </ac:graphicFrameMkLst>
        </pc:graphicFrameChg>
        <pc:graphicFrameChg chg="add del mod replST">
          <ac:chgData name="Lim, Sharon" userId="9ed40bdc-079d-4cee-a990-4411351f7f9c" providerId="ADAL" clId="{DD93C774-82BE-4DBD-AB5E-BA44CCD0E829}" dt="2023-08-31T10:45:05.287" v="48254"/>
          <ac:graphicFrameMkLst>
            <pc:docMk/>
            <pc:sldMk cId="3381536131" sldId="328"/>
            <ac:graphicFrameMk id="18" creationId="{98D0A5DC-F342-042F-A78E-4CB8BE9333D9}"/>
          </ac:graphicFrameMkLst>
        </pc:graphicFrameChg>
        <pc:graphicFrameChg chg="add del mod replST">
          <ac:chgData name="Lim, Sharon" userId="9ed40bdc-079d-4cee-a990-4411351f7f9c" providerId="ADAL" clId="{DD93C774-82BE-4DBD-AB5E-BA44CCD0E829}" dt="2023-08-31T10:45:07.657" v="48459"/>
          <ac:graphicFrameMkLst>
            <pc:docMk/>
            <pc:sldMk cId="3381536131" sldId="328"/>
            <ac:graphicFrameMk id="21" creationId="{0CE71800-6694-1F76-F0F2-A79AE7BBBC6F}"/>
          </ac:graphicFrameMkLst>
        </pc:graphicFrameChg>
        <pc:graphicFrameChg chg="add del mod replST">
          <ac:chgData name="Lim, Sharon" userId="9ed40bdc-079d-4cee-a990-4411351f7f9c" providerId="ADAL" clId="{DD93C774-82BE-4DBD-AB5E-BA44CCD0E829}" dt="2023-08-31T10:45:11.978" v="48651"/>
          <ac:graphicFrameMkLst>
            <pc:docMk/>
            <pc:sldMk cId="3381536131" sldId="328"/>
            <ac:graphicFrameMk id="24" creationId="{96813FEB-C537-AA10-A1A6-92055C629D1C}"/>
          </ac:graphicFrameMkLst>
        </pc:graphicFrameChg>
        <pc:graphicFrameChg chg="add del mod replST">
          <ac:chgData name="Lim, Sharon" userId="9ed40bdc-079d-4cee-a990-4411351f7f9c" providerId="ADAL" clId="{DD93C774-82BE-4DBD-AB5E-BA44CCD0E829}" dt="2023-08-31T10:45:15.018" v="48849"/>
          <ac:graphicFrameMkLst>
            <pc:docMk/>
            <pc:sldMk cId="3381536131" sldId="328"/>
            <ac:graphicFrameMk id="26" creationId="{23F94F91-B208-9505-7DC5-5AD6E1929B73}"/>
          </ac:graphicFrameMkLst>
        </pc:graphicFrameChg>
        <pc:graphicFrameChg chg="add del mod replST">
          <ac:chgData name="Lim, Sharon" userId="9ed40bdc-079d-4cee-a990-4411351f7f9c" providerId="ADAL" clId="{DD93C774-82BE-4DBD-AB5E-BA44CCD0E829}" dt="2023-08-31T10:45:45.210" v="49299"/>
          <ac:graphicFrameMkLst>
            <pc:docMk/>
            <pc:sldMk cId="3381536131" sldId="328"/>
            <ac:graphicFrameMk id="28" creationId="{4D14CE7A-A4A5-780B-C7FF-CEE2F4A73F84}"/>
          </ac:graphicFrameMkLst>
        </pc:graphicFrameChg>
        <pc:graphicFrameChg chg="add del mod replST">
          <ac:chgData name="Lim, Sharon" userId="9ed40bdc-079d-4cee-a990-4411351f7f9c" providerId="ADAL" clId="{DD93C774-82BE-4DBD-AB5E-BA44CCD0E829}" dt="2023-08-31T10:45:54.375" v="49438"/>
          <ac:graphicFrameMkLst>
            <pc:docMk/>
            <pc:sldMk cId="3381536131" sldId="328"/>
            <ac:graphicFrameMk id="30" creationId="{8FF60E4F-C200-E3F9-25BC-AC110C76B524}"/>
          </ac:graphicFrameMkLst>
        </pc:graphicFrameChg>
        <pc:graphicFrameChg chg="add del mod replST">
          <ac:chgData name="Lim, Sharon" userId="9ed40bdc-079d-4cee-a990-4411351f7f9c" providerId="ADAL" clId="{DD93C774-82BE-4DBD-AB5E-BA44CCD0E829}" dt="2023-08-31T10:45:59.367" v="49577"/>
          <ac:graphicFrameMkLst>
            <pc:docMk/>
            <pc:sldMk cId="3381536131" sldId="328"/>
            <ac:graphicFrameMk id="32" creationId="{B5E5E6C5-7B04-073C-E3C5-F9B3F470EFA9}"/>
          </ac:graphicFrameMkLst>
        </pc:graphicFrameChg>
        <pc:graphicFrameChg chg="add del mod replST">
          <ac:chgData name="Lim, Sharon" userId="9ed40bdc-079d-4cee-a990-4411351f7f9c" providerId="ADAL" clId="{DD93C774-82BE-4DBD-AB5E-BA44CCD0E829}" dt="2023-08-31T10:46:08.470" v="49716"/>
          <ac:graphicFrameMkLst>
            <pc:docMk/>
            <pc:sldMk cId="3381536131" sldId="328"/>
            <ac:graphicFrameMk id="34" creationId="{EBA33F73-AB83-000D-E8AE-86B279A18453}"/>
          </ac:graphicFrameMkLst>
        </pc:graphicFrameChg>
        <pc:graphicFrameChg chg="add del mod replST">
          <ac:chgData name="Lim, Sharon" userId="9ed40bdc-079d-4cee-a990-4411351f7f9c" providerId="ADAL" clId="{DD93C774-82BE-4DBD-AB5E-BA44CCD0E829}" dt="2023-08-31T10:46:13.403" v="49854"/>
          <ac:graphicFrameMkLst>
            <pc:docMk/>
            <pc:sldMk cId="3381536131" sldId="328"/>
            <ac:graphicFrameMk id="36" creationId="{5ED7037D-F639-2F85-D8E6-4870C6E19A18}"/>
          </ac:graphicFrameMkLst>
        </pc:graphicFrameChg>
        <pc:graphicFrameChg chg="add del mod replST">
          <ac:chgData name="Lim, Sharon" userId="9ed40bdc-079d-4cee-a990-4411351f7f9c" providerId="ADAL" clId="{DD93C774-82BE-4DBD-AB5E-BA44CCD0E829}" dt="2023-08-31T10:46:22.837" v="49992"/>
          <ac:graphicFrameMkLst>
            <pc:docMk/>
            <pc:sldMk cId="3381536131" sldId="328"/>
            <ac:graphicFrameMk id="38" creationId="{9F71A7B4-0F3E-3452-F36C-A1A6C87C0947}"/>
          </ac:graphicFrameMkLst>
        </pc:graphicFrameChg>
        <pc:graphicFrameChg chg="add del mod replST">
          <ac:chgData name="Lim, Sharon" userId="9ed40bdc-079d-4cee-a990-4411351f7f9c" providerId="ADAL" clId="{DD93C774-82BE-4DBD-AB5E-BA44CCD0E829}" dt="2023-08-31T10:46:29.491" v="50130"/>
          <ac:graphicFrameMkLst>
            <pc:docMk/>
            <pc:sldMk cId="3381536131" sldId="328"/>
            <ac:graphicFrameMk id="40" creationId="{AF07F954-12C8-5C4B-0E96-CBA751D3A2A0}"/>
          </ac:graphicFrameMkLst>
        </pc:graphicFrameChg>
        <pc:graphicFrameChg chg="add del mod replST">
          <ac:chgData name="Lim, Sharon" userId="9ed40bdc-079d-4cee-a990-4411351f7f9c" providerId="ADAL" clId="{DD93C774-82BE-4DBD-AB5E-BA44CCD0E829}" dt="2023-08-31T10:46:49.977" v="50504"/>
          <ac:graphicFrameMkLst>
            <pc:docMk/>
            <pc:sldMk cId="3381536131" sldId="328"/>
            <ac:graphicFrameMk id="42" creationId="{E599E265-248A-42F7-D0F8-D70E79A1E2DD}"/>
          </ac:graphicFrameMkLst>
        </pc:graphicFrameChg>
        <pc:graphicFrameChg chg="add del mod replST">
          <ac:chgData name="Lim, Sharon" userId="9ed40bdc-079d-4cee-a990-4411351f7f9c" providerId="ADAL" clId="{DD93C774-82BE-4DBD-AB5E-BA44CCD0E829}" dt="2023-08-31T10:46:55.904" v="50622"/>
          <ac:graphicFrameMkLst>
            <pc:docMk/>
            <pc:sldMk cId="3381536131" sldId="328"/>
            <ac:graphicFrameMk id="54" creationId="{033B7CF7-5605-630D-4C85-712C4549CA04}"/>
          </ac:graphicFrameMkLst>
        </pc:graphicFrameChg>
        <pc:graphicFrameChg chg="add del mod replST">
          <ac:chgData name="Lim, Sharon" userId="9ed40bdc-079d-4cee-a990-4411351f7f9c" providerId="ADAL" clId="{DD93C774-82BE-4DBD-AB5E-BA44CCD0E829}" dt="2023-08-31T10:47:02.356" v="50715"/>
          <ac:graphicFrameMkLst>
            <pc:docMk/>
            <pc:sldMk cId="3381536131" sldId="328"/>
            <ac:graphicFrameMk id="58" creationId="{095482EF-759F-4A29-3BAD-CAD7A832275A}"/>
          </ac:graphicFrameMkLst>
        </pc:graphicFrameChg>
        <pc:graphicFrameChg chg="add del mod replST">
          <ac:chgData name="Lim, Sharon" userId="9ed40bdc-079d-4cee-a990-4411351f7f9c" providerId="ADAL" clId="{DD93C774-82BE-4DBD-AB5E-BA44CCD0E829}" dt="2023-08-31T10:47:17.080" v="51245"/>
          <ac:graphicFrameMkLst>
            <pc:docMk/>
            <pc:sldMk cId="3381536131" sldId="328"/>
            <ac:graphicFrameMk id="60" creationId="{A3189C65-6761-B679-9F8B-2D2236A211E6}"/>
          </ac:graphicFrameMkLst>
        </pc:graphicFrameChg>
        <pc:graphicFrameChg chg="add mod replST delST">
          <ac:chgData name="Lim, Sharon" userId="9ed40bdc-079d-4cee-a990-4411351f7f9c" providerId="ADAL" clId="{DD93C774-82BE-4DBD-AB5E-BA44CCD0E829}" dt="2023-08-31T10:47:07.934" v="51017"/>
          <ac:graphicFrameMkLst>
            <pc:docMk/>
            <pc:sldMk cId="3381536131" sldId="328"/>
            <ac:graphicFrameMk id="62" creationId="{07ACB041-F13A-CA39-6CBA-840B380202C7}"/>
          </ac:graphicFrameMkLst>
        </pc:graphicFrameChg>
        <pc:graphicFrameChg chg="add del mod replST">
          <ac:chgData name="Lim, Sharon" userId="9ed40bdc-079d-4cee-a990-4411351f7f9c" providerId="ADAL" clId="{DD93C774-82BE-4DBD-AB5E-BA44CCD0E829}" dt="2023-08-31T10:47:24.194" v="51413"/>
          <ac:graphicFrameMkLst>
            <pc:docMk/>
            <pc:sldMk cId="3381536131" sldId="328"/>
            <ac:graphicFrameMk id="68" creationId="{E6649B3D-CDC0-941E-B346-BBDC8D7AE287}"/>
          </ac:graphicFrameMkLst>
        </pc:graphicFrameChg>
        <pc:graphicFrameChg chg="add del mod replST">
          <ac:chgData name="Lim, Sharon" userId="9ed40bdc-079d-4cee-a990-4411351f7f9c" providerId="ADAL" clId="{DD93C774-82BE-4DBD-AB5E-BA44CCD0E829}" dt="2023-08-31T10:47:25.154" v="51544"/>
          <ac:graphicFrameMkLst>
            <pc:docMk/>
            <pc:sldMk cId="3381536131" sldId="328"/>
            <ac:graphicFrameMk id="71" creationId="{914E059B-73CC-7564-B41D-2C90292BA1C0}"/>
          </ac:graphicFrameMkLst>
        </pc:graphicFrameChg>
        <pc:graphicFrameChg chg="add del mod replST">
          <ac:chgData name="Lim, Sharon" userId="9ed40bdc-079d-4cee-a990-4411351f7f9c" providerId="ADAL" clId="{DD93C774-82BE-4DBD-AB5E-BA44CCD0E829}" dt="2023-08-31T10:47:29.630" v="51643"/>
          <ac:graphicFrameMkLst>
            <pc:docMk/>
            <pc:sldMk cId="3381536131" sldId="328"/>
            <ac:graphicFrameMk id="74" creationId="{0F01D2AF-0F85-83E6-4CB0-A8E57F385649}"/>
          </ac:graphicFrameMkLst>
        </pc:graphicFrameChg>
        <pc:graphicFrameChg chg="add del mod replST">
          <ac:chgData name="Lim, Sharon" userId="9ed40bdc-079d-4cee-a990-4411351f7f9c" providerId="ADAL" clId="{DD93C774-82BE-4DBD-AB5E-BA44CCD0E829}" dt="2023-08-31T10:47:31.040" v="51740"/>
          <ac:graphicFrameMkLst>
            <pc:docMk/>
            <pc:sldMk cId="3381536131" sldId="328"/>
            <ac:graphicFrameMk id="76" creationId="{C47BB7A7-AE23-B0F3-DC64-1DF04F5A0FC7}"/>
          </ac:graphicFrameMkLst>
        </pc:graphicFrameChg>
        <pc:graphicFrameChg chg="add del mod replST">
          <ac:chgData name="Lim, Sharon" userId="9ed40bdc-079d-4cee-a990-4411351f7f9c" providerId="ADAL" clId="{DD93C774-82BE-4DBD-AB5E-BA44CCD0E829}" dt="2023-08-31T10:47:34.861" v="51833"/>
          <ac:graphicFrameMkLst>
            <pc:docMk/>
            <pc:sldMk cId="3381536131" sldId="328"/>
            <ac:graphicFrameMk id="78" creationId="{64BA9349-C37C-684E-061A-B09740846393}"/>
          </ac:graphicFrameMkLst>
        </pc:graphicFrameChg>
        <pc:graphicFrameChg chg="add del mod replST">
          <ac:chgData name="Lim, Sharon" userId="9ed40bdc-079d-4cee-a990-4411351f7f9c" providerId="ADAL" clId="{DD93C774-82BE-4DBD-AB5E-BA44CCD0E829}" dt="2023-08-31T10:47:36.291" v="51928"/>
          <ac:graphicFrameMkLst>
            <pc:docMk/>
            <pc:sldMk cId="3381536131" sldId="328"/>
            <ac:graphicFrameMk id="80" creationId="{8F3F3D92-76DB-9909-AA98-22AA4E48DD5E}"/>
          </ac:graphicFrameMkLst>
        </pc:graphicFrameChg>
        <pc:graphicFrameChg chg="add del mod replST">
          <ac:chgData name="Lim, Sharon" userId="9ed40bdc-079d-4cee-a990-4411351f7f9c" providerId="ADAL" clId="{DD93C774-82BE-4DBD-AB5E-BA44CCD0E829}" dt="2023-08-31T10:47:39.750" v="52018"/>
          <ac:graphicFrameMkLst>
            <pc:docMk/>
            <pc:sldMk cId="3381536131" sldId="328"/>
            <ac:graphicFrameMk id="84" creationId="{CA200F55-6D68-097A-6429-AC53A82FC5D1}"/>
          </ac:graphicFrameMkLst>
        </pc:graphicFrameChg>
        <pc:graphicFrameChg chg="add del mod replST">
          <ac:chgData name="Lim, Sharon" userId="9ed40bdc-079d-4cee-a990-4411351f7f9c" providerId="ADAL" clId="{DD93C774-82BE-4DBD-AB5E-BA44CCD0E829}" dt="2023-08-31T10:47:39.985" v="52125"/>
          <ac:graphicFrameMkLst>
            <pc:docMk/>
            <pc:sldMk cId="3381536131" sldId="328"/>
            <ac:graphicFrameMk id="87" creationId="{A4845ACA-D263-B412-EB8F-3249C0B2325D}"/>
          </ac:graphicFrameMkLst>
        </pc:graphicFrameChg>
        <pc:graphicFrameChg chg="add del mod replST">
          <ac:chgData name="Lim, Sharon" userId="9ed40bdc-079d-4cee-a990-4411351f7f9c" providerId="ADAL" clId="{DD93C774-82BE-4DBD-AB5E-BA44CCD0E829}" dt="2023-08-31T10:47:43.080" v="52228"/>
          <ac:graphicFrameMkLst>
            <pc:docMk/>
            <pc:sldMk cId="3381536131" sldId="328"/>
            <ac:graphicFrameMk id="90" creationId="{7481B120-2F98-25FD-F182-D3910CAC7C2A}"/>
          </ac:graphicFrameMkLst>
        </pc:graphicFrameChg>
        <pc:graphicFrameChg chg="add del mod replST">
          <ac:chgData name="Lim, Sharon" userId="9ed40bdc-079d-4cee-a990-4411351f7f9c" providerId="ADAL" clId="{DD93C774-82BE-4DBD-AB5E-BA44CCD0E829}" dt="2023-08-31T10:47:48.135" v="52377"/>
          <ac:graphicFrameMkLst>
            <pc:docMk/>
            <pc:sldMk cId="3381536131" sldId="328"/>
            <ac:graphicFrameMk id="93" creationId="{38FC860C-834C-EF79-10A2-6EA250A7040A}"/>
          </ac:graphicFrameMkLst>
        </pc:graphicFrameChg>
        <pc:graphicFrameChg chg="add del mod replST">
          <ac:chgData name="Lim, Sharon" userId="9ed40bdc-079d-4cee-a990-4411351f7f9c" providerId="ADAL" clId="{DD93C774-82BE-4DBD-AB5E-BA44CCD0E829}" dt="2023-08-31T10:47:49.172" v="52484"/>
          <ac:graphicFrameMkLst>
            <pc:docMk/>
            <pc:sldMk cId="3381536131" sldId="328"/>
            <ac:graphicFrameMk id="96" creationId="{A5E68129-F91B-6449-00C3-C850707823CF}"/>
          </ac:graphicFrameMkLst>
        </pc:graphicFrameChg>
        <pc:graphicFrameChg chg="add del mod replST">
          <ac:chgData name="Lim, Sharon" userId="9ed40bdc-079d-4cee-a990-4411351f7f9c" providerId="ADAL" clId="{DD93C774-82BE-4DBD-AB5E-BA44CCD0E829}" dt="2023-08-31T10:47:49.574" v="52578"/>
          <ac:graphicFrameMkLst>
            <pc:docMk/>
            <pc:sldMk cId="3381536131" sldId="328"/>
            <ac:graphicFrameMk id="98" creationId="{0214DB02-2029-2D75-7982-0810FC47CDAC}"/>
          </ac:graphicFrameMkLst>
        </pc:graphicFrameChg>
        <pc:graphicFrameChg chg="add del mod replST">
          <ac:chgData name="Lim, Sharon" userId="9ed40bdc-079d-4cee-a990-4411351f7f9c" providerId="ADAL" clId="{DD93C774-82BE-4DBD-AB5E-BA44CCD0E829}" dt="2023-08-31T10:47:53.920" v="52782"/>
          <ac:graphicFrameMkLst>
            <pc:docMk/>
            <pc:sldMk cId="3381536131" sldId="328"/>
            <ac:graphicFrameMk id="100" creationId="{F24FAC87-E661-4900-A2F9-43F819FBCA1A}"/>
          </ac:graphicFrameMkLst>
        </pc:graphicFrameChg>
        <pc:graphicFrameChg chg="add del mod replST">
          <ac:chgData name="Lim, Sharon" userId="9ed40bdc-079d-4cee-a990-4411351f7f9c" providerId="ADAL" clId="{DD93C774-82BE-4DBD-AB5E-BA44CCD0E829}" dt="2023-08-31T10:47:57.008" v="52895"/>
          <ac:graphicFrameMkLst>
            <pc:docMk/>
            <pc:sldMk cId="3381536131" sldId="328"/>
            <ac:graphicFrameMk id="106" creationId="{3DE6FEFF-D1C4-07E3-7DEC-34CDC758D242}"/>
          </ac:graphicFrameMkLst>
        </pc:graphicFrameChg>
        <pc:graphicFrameChg chg="add del mod replST">
          <ac:chgData name="Lim, Sharon" userId="9ed40bdc-079d-4cee-a990-4411351f7f9c" providerId="ADAL" clId="{DD93C774-82BE-4DBD-AB5E-BA44CCD0E829}" dt="2023-08-31T10:47:57.469" v="52997"/>
          <ac:graphicFrameMkLst>
            <pc:docMk/>
            <pc:sldMk cId="3381536131" sldId="328"/>
            <ac:graphicFrameMk id="108" creationId="{4643D41F-437C-93A1-BEAE-33B40BF7CA83}"/>
          </ac:graphicFrameMkLst>
        </pc:graphicFrameChg>
        <pc:graphicFrameChg chg="add del mod replST">
          <ac:chgData name="Lim, Sharon" userId="9ed40bdc-079d-4cee-a990-4411351f7f9c" providerId="ADAL" clId="{DD93C774-82BE-4DBD-AB5E-BA44CCD0E829}" dt="2023-08-31T10:48:00.191" v="53092"/>
          <ac:graphicFrameMkLst>
            <pc:docMk/>
            <pc:sldMk cId="3381536131" sldId="328"/>
            <ac:graphicFrameMk id="110" creationId="{506BC183-6267-9158-2F4D-980964B55C67}"/>
          </ac:graphicFrameMkLst>
        </pc:graphicFrameChg>
        <pc:graphicFrameChg chg="add del mod replST">
          <ac:chgData name="Lim, Sharon" userId="9ed40bdc-079d-4cee-a990-4411351f7f9c" providerId="ADAL" clId="{DD93C774-82BE-4DBD-AB5E-BA44CCD0E829}" dt="2023-08-31T10:48:05.325" v="53183"/>
          <ac:graphicFrameMkLst>
            <pc:docMk/>
            <pc:sldMk cId="3381536131" sldId="328"/>
            <ac:graphicFrameMk id="112" creationId="{B6DCBEEA-E0C6-3197-A88D-EE92CD0A5FD9}"/>
          </ac:graphicFrameMkLst>
        </pc:graphicFrameChg>
        <pc:graphicFrameChg chg="add del mod replST">
          <ac:chgData name="Lim, Sharon" userId="9ed40bdc-079d-4cee-a990-4411351f7f9c" providerId="ADAL" clId="{DD93C774-82BE-4DBD-AB5E-BA44CCD0E829}" dt="2023-08-31T10:48:07.016" v="53274"/>
          <ac:graphicFrameMkLst>
            <pc:docMk/>
            <pc:sldMk cId="3381536131" sldId="328"/>
            <ac:graphicFrameMk id="114" creationId="{571198D7-F0BE-77F9-0B04-EF5FEFEA8A9F}"/>
          </ac:graphicFrameMkLst>
        </pc:graphicFrameChg>
        <pc:graphicFrameChg chg="add del mod replST">
          <ac:chgData name="Lim, Sharon" userId="9ed40bdc-079d-4cee-a990-4411351f7f9c" providerId="ADAL" clId="{DD93C774-82BE-4DBD-AB5E-BA44CCD0E829}" dt="2023-08-31T10:48:10.109" v="53405"/>
          <ac:graphicFrameMkLst>
            <pc:docMk/>
            <pc:sldMk cId="3381536131" sldId="328"/>
            <ac:graphicFrameMk id="116" creationId="{46F09B1F-5197-CDC9-39A6-FE49FE0B19D8}"/>
          </ac:graphicFrameMkLst>
        </pc:graphicFrameChg>
        <pc:graphicFrameChg chg="del">
          <ac:chgData name="Lim, Sharon" userId="9ed40bdc-079d-4cee-a990-4411351f7f9c" providerId="ADAL" clId="{DD93C774-82BE-4DBD-AB5E-BA44CCD0E829}" dt="2023-08-31T10:44:39.502" v="47778"/>
          <ac:graphicFrameMkLst>
            <pc:docMk/>
            <pc:sldMk cId="3381536131" sldId="328"/>
            <ac:graphicFrameMk id="117" creationId="{D6E7A857-3BE3-1EB5-2AB9-DF58BD08B612}"/>
          </ac:graphicFrameMkLst>
        </pc:graphicFrameChg>
        <pc:graphicFrameChg chg="add del mod replST">
          <ac:chgData name="Lim, Sharon" userId="9ed40bdc-079d-4cee-a990-4411351f7f9c" providerId="ADAL" clId="{DD93C774-82BE-4DBD-AB5E-BA44CCD0E829}" dt="2023-08-31T10:48:14.277" v="53500"/>
          <ac:graphicFrameMkLst>
            <pc:docMk/>
            <pc:sldMk cId="3381536131" sldId="328"/>
            <ac:graphicFrameMk id="121" creationId="{D3256854-67FA-23A5-DD72-B6DF58B66D33}"/>
          </ac:graphicFrameMkLst>
        </pc:graphicFrameChg>
        <pc:graphicFrameChg chg="add del mod replST">
          <ac:chgData name="Lim, Sharon" userId="9ed40bdc-079d-4cee-a990-4411351f7f9c" providerId="ADAL" clId="{DD93C774-82BE-4DBD-AB5E-BA44CCD0E829}" dt="2023-08-31T10:48:16.378" v="53597"/>
          <ac:graphicFrameMkLst>
            <pc:docMk/>
            <pc:sldMk cId="3381536131" sldId="328"/>
            <ac:graphicFrameMk id="123" creationId="{43F0DF41-AAA9-4AB3-7C1E-EFBB3BF6EC53}"/>
          </ac:graphicFrameMkLst>
        </pc:graphicFrameChg>
        <pc:graphicFrameChg chg="add del mod replST">
          <ac:chgData name="Lim, Sharon" userId="9ed40bdc-079d-4cee-a990-4411351f7f9c" providerId="ADAL" clId="{DD93C774-82BE-4DBD-AB5E-BA44CCD0E829}" dt="2023-08-31T10:48:19.888" v="53690"/>
          <ac:graphicFrameMkLst>
            <pc:docMk/>
            <pc:sldMk cId="3381536131" sldId="328"/>
            <ac:graphicFrameMk id="125" creationId="{42AFFE05-1EF6-17B8-BE94-74EB3F696D42}"/>
          </ac:graphicFrameMkLst>
        </pc:graphicFrameChg>
        <pc:graphicFrameChg chg="add del mod replST">
          <ac:chgData name="Lim, Sharon" userId="9ed40bdc-079d-4cee-a990-4411351f7f9c" providerId="ADAL" clId="{DD93C774-82BE-4DBD-AB5E-BA44CCD0E829}" dt="2023-08-31T10:48:20.143" v="53800"/>
          <ac:graphicFrameMkLst>
            <pc:docMk/>
            <pc:sldMk cId="3381536131" sldId="328"/>
            <ac:graphicFrameMk id="127" creationId="{93CD1DBC-8FCE-28EE-627F-93CDD843CD09}"/>
          </ac:graphicFrameMkLst>
        </pc:graphicFrameChg>
        <pc:graphicFrameChg chg="add del mod replST">
          <ac:chgData name="Lim, Sharon" userId="9ed40bdc-079d-4cee-a990-4411351f7f9c" providerId="ADAL" clId="{DD93C774-82BE-4DBD-AB5E-BA44CCD0E829}" dt="2023-08-31T10:48:29.045" v="53953"/>
          <ac:graphicFrameMkLst>
            <pc:docMk/>
            <pc:sldMk cId="3381536131" sldId="328"/>
            <ac:graphicFrameMk id="130" creationId="{68945D94-060D-3D52-F1A1-96A4D44D836F}"/>
          </ac:graphicFrameMkLst>
        </pc:graphicFrameChg>
        <pc:graphicFrameChg chg="add del mod replST">
          <ac:chgData name="Lim, Sharon" userId="9ed40bdc-079d-4cee-a990-4411351f7f9c" providerId="ADAL" clId="{DD93C774-82BE-4DBD-AB5E-BA44CCD0E829}" dt="2023-08-31T10:48:30.591" v="54066"/>
          <ac:graphicFrameMkLst>
            <pc:docMk/>
            <pc:sldMk cId="3381536131" sldId="328"/>
            <ac:graphicFrameMk id="133" creationId="{2B928707-F020-DC3B-66E2-BE9FD80262A4}"/>
          </ac:graphicFrameMkLst>
        </pc:graphicFrameChg>
        <pc:graphicFrameChg chg="add del mod replST">
          <ac:chgData name="Lim, Sharon" userId="9ed40bdc-079d-4cee-a990-4411351f7f9c" providerId="ADAL" clId="{DD93C774-82BE-4DBD-AB5E-BA44CCD0E829}" dt="2023-08-31T10:48:30.883" v="54173"/>
          <ac:graphicFrameMkLst>
            <pc:docMk/>
            <pc:sldMk cId="3381536131" sldId="328"/>
            <ac:graphicFrameMk id="135" creationId="{03D15046-78C2-EC0B-F547-8C168621E33C}"/>
          </ac:graphicFrameMkLst>
        </pc:graphicFrameChg>
        <pc:graphicFrameChg chg="add del mod replST">
          <ac:chgData name="Lim, Sharon" userId="9ed40bdc-079d-4cee-a990-4411351f7f9c" providerId="ADAL" clId="{DD93C774-82BE-4DBD-AB5E-BA44CCD0E829}" dt="2023-08-31T10:48:33.338" v="54277"/>
          <ac:graphicFrameMkLst>
            <pc:docMk/>
            <pc:sldMk cId="3381536131" sldId="328"/>
            <ac:graphicFrameMk id="138" creationId="{8E951911-EC3C-A189-7504-A045D0AC5377}"/>
          </ac:graphicFrameMkLst>
        </pc:graphicFrameChg>
        <pc:graphicFrameChg chg="add del mod replST">
          <ac:chgData name="Lim, Sharon" userId="9ed40bdc-079d-4cee-a990-4411351f7f9c" providerId="ADAL" clId="{DD93C774-82BE-4DBD-AB5E-BA44CCD0E829}" dt="2023-08-31T10:48:35.816" v="54432"/>
          <ac:graphicFrameMkLst>
            <pc:docMk/>
            <pc:sldMk cId="3381536131" sldId="328"/>
            <ac:graphicFrameMk id="140" creationId="{52AF678E-387D-0C2A-35EC-60AD6B4CE8EC}"/>
          </ac:graphicFrameMkLst>
        </pc:graphicFrameChg>
        <pc:graphicFrameChg chg="add del mod replST">
          <ac:chgData name="Lim, Sharon" userId="9ed40bdc-079d-4cee-a990-4411351f7f9c" providerId="ADAL" clId="{DD93C774-82BE-4DBD-AB5E-BA44CCD0E829}" dt="2023-08-31T10:48:37.243" v="54547"/>
          <ac:graphicFrameMkLst>
            <pc:docMk/>
            <pc:sldMk cId="3381536131" sldId="328"/>
            <ac:graphicFrameMk id="143" creationId="{43B7722F-550C-2860-2A96-63786C97F3B3}"/>
          </ac:graphicFrameMkLst>
        </pc:graphicFrameChg>
        <pc:graphicFrameChg chg="add del mod replST">
          <ac:chgData name="Lim, Sharon" userId="9ed40bdc-079d-4cee-a990-4411351f7f9c" providerId="ADAL" clId="{DD93C774-82BE-4DBD-AB5E-BA44CCD0E829}" dt="2023-08-31T10:48:37.865" v="54653"/>
          <ac:graphicFrameMkLst>
            <pc:docMk/>
            <pc:sldMk cId="3381536131" sldId="328"/>
            <ac:graphicFrameMk id="145" creationId="{0228B154-6C6A-8198-A4BB-A4EEF97B3A5B}"/>
          </ac:graphicFrameMkLst>
        </pc:graphicFrameChg>
        <pc:graphicFrameChg chg="add del mod replST">
          <ac:chgData name="Lim, Sharon" userId="9ed40bdc-079d-4cee-a990-4411351f7f9c" providerId="ADAL" clId="{DD93C774-82BE-4DBD-AB5E-BA44CCD0E829}" dt="2023-08-31T11:00:34.013" v="55766"/>
          <ac:graphicFrameMkLst>
            <pc:docMk/>
            <pc:sldMk cId="3381536131" sldId="328"/>
            <ac:graphicFrameMk id="147" creationId="{15AB7017-FCB7-731E-4F3B-213F1E1DB817}"/>
          </ac:graphicFrameMkLst>
        </pc:graphicFrameChg>
        <pc:graphicFrameChg chg="add del mod replST">
          <ac:chgData name="Lim, Sharon" userId="9ed40bdc-079d-4cee-a990-4411351f7f9c" providerId="ADAL" clId="{DD93C774-82BE-4DBD-AB5E-BA44CCD0E829}" dt="2023-08-31T11:00:37.044" v="56023"/>
          <ac:graphicFrameMkLst>
            <pc:docMk/>
            <pc:sldMk cId="3381536131" sldId="328"/>
            <ac:graphicFrameMk id="150" creationId="{D2AA5188-C93F-C5A9-5942-4E9D700DE4FD}"/>
          </ac:graphicFrameMkLst>
        </pc:graphicFrameChg>
        <pc:graphicFrameChg chg="add del mod replST">
          <ac:chgData name="Lim, Sharon" userId="9ed40bdc-079d-4cee-a990-4411351f7f9c" providerId="ADAL" clId="{DD93C774-82BE-4DBD-AB5E-BA44CCD0E829}" dt="2023-08-31T11:00:39.397" v="56181"/>
          <ac:graphicFrameMkLst>
            <pc:docMk/>
            <pc:sldMk cId="3381536131" sldId="328"/>
            <ac:graphicFrameMk id="155" creationId="{C02DA5DD-B4BD-09C6-ED73-B1B3456BBD0D}"/>
          </ac:graphicFrameMkLst>
        </pc:graphicFrameChg>
        <pc:graphicFrameChg chg="add del mod replST">
          <ac:chgData name="Lim, Sharon" userId="9ed40bdc-079d-4cee-a990-4411351f7f9c" providerId="ADAL" clId="{DD93C774-82BE-4DBD-AB5E-BA44CCD0E829}" dt="2023-08-31T11:01:44.254" v="59010"/>
          <ac:graphicFrameMkLst>
            <pc:docMk/>
            <pc:sldMk cId="3381536131" sldId="328"/>
            <ac:graphicFrameMk id="157" creationId="{CE1FDE58-249E-3DB9-DE22-4A4A6BD74D21}"/>
          </ac:graphicFrameMkLst>
        </pc:graphicFrameChg>
        <pc:graphicFrameChg chg="add del mod replST delST">
          <ac:chgData name="Lim, Sharon" userId="9ed40bdc-079d-4cee-a990-4411351f7f9c" providerId="ADAL" clId="{DD93C774-82BE-4DBD-AB5E-BA44CCD0E829}" dt="2023-08-31T11:01:40.431" v="58421"/>
          <ac:graphicFrameMkLst>
            <pc:docMk/>
            <pc:sldMk cId="3381536131" sldId="328"/>
            <ac:graphicFrameMk id="166" creationId="{74C5AEAB-DE16-9E96-1F7C-F99449D08809}"/>
          </ac:graphicFrameMkLst>
        </pc:graphicFrameChg>
        <pc:graphicFrameChg chg="add del mod replST delST">
          <ac:chgData name="Lim, Sharon" userId="9ed40bdc-079d-4cee-a990-4411351f7f9c" providerId="ADAL" clId="{DD93C774-82BE-4DBD-AB5E-BA44CCD0E829}" dt="2023-08-31T11:01:38.828" v="57717"/>
          <ac:graphicFrameMkLst>
            <pc:docMk/>
            <pc:sldMk cId="3381536131" sldId="328"/>
            <ac:graphicFrameMk id="168" creationId="{0EC85DA2-5CE8-295C-37DB-5D5ADB33E149}"/>
          </ac:graphicFrameMkLst>
        </pc:graphicFrameChg>
        <pc:graphicFrameChg chg="add mod replST delST">
          <ac:chgData name="Lim, Sharon" userId="9ed40bdc-079d-4cee-a990-4411351f7f9c" providerId="ADAL" clId="{DD93C774-82BE-4DBD-AB5E-BA44CCD0E829}" dt="2023-08-31T11:01:37.502" v="57293"/>
          <ac:graphicFrameMkLst>
            <pc:docMk/>
            <pc:sldMk cId="3381536131" sldId="328"/>
            <ac:graphicFrameMk id="170" creationId="{562EDDD7-0A3A-712C-CF7F-544B0ECAB16F}"/>
          </ac:graphicFrameMkLst>
        </pc:graphicFrameChg>
        <pc:graphicFrameChg chg="add mod replST delST">
          <ac:chgData name="Lim, Sharon" userId="9ed40bdc-079d-4cee-a990-4411351f7f9c" providerId="ADAL" clId="{DD93C774-82BE-4DBD-AB5E-BA44CCD0E829}" dt="2023-08-31T11:01:38.828" v="57717"/>
          <ac:graphicFrameMkLst>
            <pc:docMk/>
            <pc:sldMk cId="3381536131" sldId="328"/>
            <ac:graphicFrameMk id="174" creationId="{9AF00FF4-30C4-4ABE-A8B9-B981654842CA}"/>
          </ac:graphicFrameMkLst>
        </pc:graphicFrameChg>
        <pc:graphicFrameChg chg="add mod replST delST">
          <ac:chgData name="Lim, Sharon" userId="9ed40bdc-079d-4cee-a990-4411351f7f9c" providerId="ADAL" clId="{DD93C774-82BE-4DBD-AB5E-BA44CCD0E829}" dt="2023-08-31T11:01:40.431" v="58421"/>
          <ac:graphicFrameMkLst>
            <pc:docMk/>
            <pc:sldMk cId="3381536131" sldId="328"/>
            <ac:graphicFrameMk id="176" creationId="{A0B8DA7C-7C96-ADEE-5775-7ED01E089FF8}"/>
          </ac:graphicFrameMkLst>
        </pc:graphicFrameChg>
        <pc:graphicFrameChg chg="add del mod replST">
          <ac:chgData name="Lim, Sharon" userId="9ed40bdc-079d-4cee-a990-4411351f7f9c" providerId="ADAL" clId="{DD93C774-82BE-4DBD-AB5E-BA44CCD0E829}" dt="2023-08-31T11:01:45.492" v="59140"/>
          <ac:graphicFrameMkLst>
            <pc:docMk/>
            <pc:sldMk cId="3381536131" sldId="328"/>
            <ac:graphicFrameMk id="185" creationId="{E67E7C81-B790-D94F-E974-F443AFC3AEFF}"/>
          </ac:graphicFrameMkLst>
        </pc:graphicFrameChg>
        <pc:graphicFrameChg chg="add del mod replST">
          <ac:chgData name="Lim, Sharon" userId="9ed40bdc-079d-4cee-a990-4411351f7f9c" providerId="ADAL" clId="{DD93C774-82BE-4DBD-AB5E-BA44CCD0E829}" dt="2023-08-31T11:01:47.886" v="59256"/>
          <ac:graphicFrameMkLst>
            <pc:docMk/>
            <pc:sldMk cId="3381536131" sldId="328"/>
            <ac:graphicFrameMk id="187" creationId="{59B7DE64-70F7-7521-E820-19246B73A44C}"/>
          </ac:graphicFrameMkLst>
        </pc:graphicFrameChg>
        <pc:graphicFrameChg chg="add del mod replST">
          <ac:chgData name="Lim, Sharon" userId="9ed40bdc-079d-4cee-a990-4411351f7f9c" providerId="ADAL" clId="{DD93C774-82BE-4DBD-AB5E-BA44CCD0E829}" dt="2023-08-31T11:01:49.835" v="59370"/>
          <ac:graphicFrameMkLst>
            <pc:docMk/>
            <pc:sldMk cId="3381536131" sldId="328"/>
            <ac:graphicFrameMk id="189" creationId="{C2C38440-E45C-C9B7-743F-BAFB1903EC1D}"/>
          </ac:graphicFrameMkLst>
        </pc:graphicFrameChg>
        <pc:graphicFrameChg chg="add del mod replST">
          <ac:chgData name="Lim, Sharon" userId="9ed40bdc-079d-4cee-a990-4411351f7f9c" providerId="ADAL" clId="{DD93C774-82BE-4DBD-AB5E-BA44CCD0E829}" dt="2023-08-31T11:01:54.062" v="59526"/>
          <ac:graphicFrameMkLst>
            <pc:docMk/>
            <pc:sldMk cId="3381536131" sldId="328"/>
            <ac:graphicFrameMk id="191" creationId="{225046CE-9614-4D1E-AFF5-1BCF8E6069F6}"/>
          </ac:graphicFrameMkLst>
        </pc:graphicFrameChg>
        <pc:graphicFrameChg chg="add del mod replST">
          <ac:chgData name="Lim, Sharon" userId="9ed40bdc-079d-4cee-a990-4411351f7f9c" providerId="ADAL" clId="{DD93C774-82BE-4DBD-AB5E-BA44CCD0E829}" dt="2023-08-31T11:02:53.957" v="59689"/>
          <ac:graphicFrameMkLst>
            <pc:docMk/>
            <pc:sldMk cId="3381536131" sldId="328"/>
            <ac:graphicFrameMk id="193" creationId="{80D4254C-846F-CB51-CB78-B8D6B2CA9583}"/>
          </ac:graphicFrameMkLst>
        </pc:graphicFrameChg>
        <pc:graphicFrameChg chg="add del mod replST">
          <ac:chgData name="Lim, Sharon" userId="9ed40bdc-079d-4cee-a990-4411351f7f9c" providerId="ADAL" clId="{DD93C774-82BE-4DBD-AB5E-BA44CCD0E829}" dt="2023-08-31T11:02:55.446" v="59807"/>
          <ac:graphicFrameMkLst>
            <pc:docMk/>
            <pc:sldMk cId="3381536131" sldId="328"/>
            <ac:graphicFrameMk id="197" creationId="{F91FD0F2-5EC7-20D7-1A22-5D1032EE5E8A}"/>
          </ac:graphicFrameMkLst>
        </pc:graphicFrameChg>
        <pc:graphicFrameChg chg="add del mod replST">
          <ac:chgData name="Lim, Sharon" userId="9ed40bdc-079d-4cee-a990-4411351f7f9c" providerId="ADAL" clId="{DD93C774-82BE-4DBD-AB5E-BA44CCD0E829}" dt="2023-08-31T11:02:56.810" v="59924"/>
          <ac:graphicFrameMkLst>
            <pc:docMk/>
            <pc:sldMk cId="3381536131" sldId="328"/>
            <ac:graphicFrameMk id="199" creationId="{9E3C2BED-D619-CC88-9D8F-919BFB00714A}"/>
          </ac:graphicFrameMkLst>
        </pc:graphicFrameChg>
        <pc:graphicFrameChg chg="add del mod replST">
          <ac:chgData name="Lim, Sharon" userId="9ed40bdc-079d-4cee-a990-4411351f7f9c" providerId="ADAL" clId="{DD93C774-82BE-4DBD-AB5E-BA44CCD0E829}" dt="2023-08-31T11:02:59.030" v="60035"/>
          <ac:graphicFrameMkLst>
            <pc:docMk/>
            <pc:sldMk cId="3381536131" sldId="328"/>
            <ac:graphicFrameMk id="201" creationId="{D49E51CE-281A-5655-DA6D-827BAB504FC5}"/>
          </ac:graphicFrameMkLst>
        </pc:graphicFrameChg>
        <pc:graphicFrameChg chg="add del mod replST">
          <ac:chgData name="Lim, Sharon" userId="9ed40bdc-079d-4cee-a990-4411351f7f9c" providerId="ADAL" clId="{DD93C774-82BE-4DBD-AB5E-BA44CCD0E829}" dt="2023-08-31T11:03:00.386" v="60144"/>
          <ac:graphicFrameMkLst>
            <pc:docMk/>
            <pc:sldMk cId="3381536131" sldId="328"/>
            <ac:graphicFrameMk id="203" creationId="{305DB4E9-8917-5B99-D577-DB85878C95A2}"/>
          </ac:graphicFrameMkLst>
        </pc:graphicFrameChg>
        <pc:graphicFrameChg chg="add del mod replST">
          <ac:chgData name="Lim, Sharon" userId="9ed40bdc-079d-4cee-a990-4411351f7f9c" providerId="ADAL" clId="{DD93C774-82BE-4DBD-AB5E-BA44CCD0E829}" dt="2023-08-31T11:03:01.676" v="60251"/>
          <ac:graphicFrameMkLst>
            <pc:docMk/>
            <pc:sldMk cId="3381536131" sldId="328"/>
            <ac:graphicFrameMk id="205" creationId="{54223D80-E7A3-720D-C9A5-B94A1905FFC2}"/>
          </ac:graphicFrameMkLst>
        </pc:graphicFrameChg>
        <pc:graphicFrameChg chg="add del mod replST">
          <ac:chgData name="Lim, Sharon" userId="9ed40bdc-079d-4cee-a990-4411351f7f9c" providerId="ADAL" clId="{DD93C774-82BE-4DBD-AB5E-BA44CCD0E829}" dt="2023-08-31T11:03:03.297" v="60356"/>
          <ac:graphicFrameMkLst>
            <pc:docMk/>
            <pc:sldMk cId="3381536131" sldId="328"/>
            <ac:graphicFrameMk id="207" creationId="{191DC037-CEFF-77F4-A1DF-BEC858A943E8}"/>
          </ac:graphicFrameMkLst>
        </pc:graphicFrameChg>
        <pc:graphicFrameChg chg="add del mod replST">
          <ac:chgData name="Lim, Sharon" userId="9ed40bdc-079d-4cee-a990-4411351f7f9c" providerId="ADAL" clId="{DD93C774-82BE-4DBD-AB5E-BA44CCD0E829}" dt="2023-09-01T02:11:35.767" v="66038"/>
          <ac:graphicFrameMkLst>
            <pc:docMk/>
            <pc:sldMk cId="3381536131" sldId="328"/>
            <ac:graphicFrameMk id="209" creationId="{D6C98AD9-3190-7947-F147-7D7D8AA1884C}"/>
          </ac:graphicFrameMkLst>
        </pc:graphicFrameChg>
        <pc:graphicFrameChg chg="add del mod replST">
          <ac:chgData name="Lim, Sharon" userId="9ed40bdc-079d-4cee-a990-4411351f7f9c" providerId="ADAL" clId="{DD93C774-82BE-4DBD-AB5E-BA44CCD0E829}" dt="2023-09-01T03:27:30.403" v="66905"/>
          <ac:graphicFrameMkLst>
            <pc:docMk/>
            <pc:sldMk cId="3381536131" sldId="328"/>
            <ac:graphicFrameMk id="217" creationId="{6F37B324-7B09-B581-7015-48950D5F30DF}"/>
          </ac:graphicFrameMkLst>
        </pc:graphicFrameChg>
        <pc:graphicFrameChg chg="add mod replST">
          <ac:chgData name="Lim, Sharon" userId="9ed40bdc-079d-4cee-a990-4411351f7f9c" providerId="ADAL" clId="{DD93C774-82BE-4DBD-AB5E-BA44CCD0E829}" dt="2023-09-01T03:27:30.497" v="66922"/>
          <ac:graphicFrameMkLst>
            <pc:docMk/>
            <pc:sldMk cId="3381536131" sldId="328"/>
            <ac:graphicFrameMk id="220" creationId="{578751E3-A52E-3A78-B5D9-9939BBFFB6A4}"/>
          </ac:graphicFrameMkLst>
        </pc:graphicFrameChg>
        <pc:picChg chg="add del mod modCrop">
          <ac:chgData name="Lim, Sharon" userId="9ed40bdc-079d-4cee-a990-4411351f7f9c" providerId="ADAL" clId="{DD93C774-82BE-4DBD-AB5E-BA44CCD0E829}" dt="2023-08-31T11:33:52.360" v="60570" actId="478"/>
          <ac:picMkLst>
            <pc:docMk/>
            <pc:sldMk cId="3381536131" sldId="328"/>
            <ac:picMk id="214" creationId="{3EF2C13D-B293-D578-9DE8-6CCC2B370F94}"/>
          </ac:picMkLst>
        </pc:picChg>
        <pc:picChg chg="add del mod ord modCrop">
          <ac:chgData name="Lim, Sharon" userId="9ed40bdc-079d-4cee-a990-4411351f7f9c" providerId="ADAL" clId="{DD93C774-82BE-4DBD-AB5E-BA44CCD0E829}" dt="2023-09-01T02:46:01.350" v="66410" actId="478"/>
          <ac:picMkLst>
            <pc:docMk/>
            <pc:sldMk cId="3381536131" sldId="328"/>
            <ac:picMk id="215" creationId="{A47C64DE-9A82-A515-E5EC-DB0E204FF85C}"/>
          </ac:picMkLst>
        </pc:picChg>
        <pc:cxnChg chg="add del mod ord replST">
          <ac:chgData name="Lim, Sharon" userId="9ed40bdc-079d-4cee-a990-4411351f7f9c" providerId="ADAL" clId="{DD93C774-82BE-4DBD-AB5E-BA44CCD0E829}" dt="2023-09-01T03:27:30.499" v="66924"/>
          <ac:cxnSpMkLst>
            <pc:docMk/>
            <pc:sldMk cId="3381536131" sldId="328"/>
            <ac:cxnSpMk id="11" creationId="{EB4E5EB8-E3CC-E6FC-13AE-70D0B72E7AEC}"/>
          </ac:cxnSpMkLst>
        </pc:cxnChg>
        <pc:cxnChg chg="add mod ord replST">
          <ac:chgData name="Lim, Sharon" userId="9ed40bdc-079d-4cee-a990-4411351f7f9c" providerId="ADAL" clId="{DD93C774-82BE-4DBD-AB5E-BA44CCD0E829}" dt="2023-09-01T03:27:30.500" v="66926"/>
          <ac:cxnSpMkLst>
            <pc:docMk/>
            <pc:sldMk cId="3381536131" sldId="328"/>
            <ac:cxnSpMk id="12" creationId="{CCD6F08C-DDA9-88A5-9633-1EF021F40F74}"/>
          </ac:cxnSpMkLst>
        </pc:cxnChg>
        <pc:cxnChg chg="add mod ord replST">
          <ac:chgData name="Lim, Sharon" userId="9ed40bdc-079d-4cee-a990-4411351f7f9c" providerId="ADAL" clId="{DD93C774-82BE-4DBD-AB5E-BA44CCD0E829}" dt="2023-09-01T03:27:30.501" v="66928"/>
          <ac:cxnSpMkLst>
            <pc:docMk/>
            <pc:sldMk cId="3381536131" sldId="328"/>
            <ac:cxnSpMk id="13" creationId="{7FF9A023-C82E-3BEB-238B-B1016EB7ECB1}"/>
          </ac:cxnSpMkLst>
        </pc:cxnChg>
        <pc:cxnChg chg="add mod ord replST">
          <ac:chgData name="Lim, Sharon" userId="9ed40bdc-079d-4cee-a990-4411351f7f9c" providerId="ADAL" clId="{DD93C774-82BE-4DBD-AB5E-BA44CCD0E829}" dt="2023-09-01T03:27:30.502" v="66930"/>
          <ac:cxnSpMkLst>
            <pc:docMk/>
            <pc:sldMk cId="3381536131" sldId="328"/>
            <ac:cxnSpMk id="14" creationId="{C177DAC9-1987-74CD-CAD7-CB09BC8B193C}"/>
          </ac:cxnSpMkLst>
        </pc:cxnChg>
        <pc:cxnChg chg="add del mod ord replST">
          <ac:chgData name="Lim, Sharon" userId="9ed40bdc-079d-4cee-a990-4411351f7f9c" providerId="ADAL" clId="{DD93C774-82BE-4DBD-AB5E-BA44CCD0E829}" dt="2023-08-31T10:45:14.817" v="48797"/>
          <ac:cxnSpMkLst>
            <pc:docMk/>
            <pc:sldMk cId="3381536131" sldId="328"/>
            <ac:cxnSpMk id="15" creationId="{ACE6557E-3C45-8CD7-B08B-05E8618E484F}"/>
          </ac:cxnSpMkLst>
        </pc:cxnChg>
        <pc:cxnChg chg="add del mod ord replST">
          <ac:chgData name="Lim, Sharon" userId="9ed40bdc-079d-4cee-a990-4411351f7f9c" providerId="ADAL" clId="{DD93C774-82BE-4DBD-AB5E-BA44CCD0E829}" dt="2023-08-31T10:45:14.821" v="48800"/>
          <ac:cxnSpMkLst>
            <pc:docMk/>
            <pc:sldMk cId="3381536131" sldId="328"/>
            <ac:cxnSpMk id="16" creationId="{19FE22D0-7948-7723-8908-F8C09A780FB0}"/>
          </ac:cxnSpMkLst>
        </pc:cxnChg>
        <pc:cxnChg chg="add del mod ord replST">
          <ac:chgData name="Lim, Sharon" userId="9ed40bdc-079d-4cee-a990-4411351f7f9c" providerId="ADAL" clId="{DD93C774-82BE-4DBD-AB5E-BA44CCD0E829}" dt="2023-08-31T10:45:14.825" v="48803"/>
          <ac:cxnSpMkLst>
            <pc:docMk/>
            <pc:sldMk cId="3381536131" sldId="328"/>
            <ac:cxnSpMk id="22" creationId="{B6CCCF6F-3D9C-3A69-DEF7-6B16F8996067}"/>
          </ac:cxnSpMkLst>
        </pc:cxnChg>
        <pc:cxnChg chg="add del mod ord replST">
          <ac:chgData name="Lim, Sharon" userId="9ed40bdc-079d-4cee-a990-4411351f7f9c" providerId="ADAL" clId="{DD93C774-82BE-4DBD-AB5E-BA44CCD0E829}" dt="2023-08-31T10:46:55.807" v="50573"/>
          <ac:cxnSpMkLst>
            <pc:docMk/>
            <pc:sldMk cId="3381536131" sldId="328"/>
            <ac:cxnSpMk id="50" creationId="{93C16FD7-7AEB-17B2-0059-40026C45CE28}"/>
          </ac:cxnSpMkLst>
        </pc:cxnChg>
        <pc:cxnChg chg="add del mod ord replST">
          <ac:chgData name="Lim, Sharon" userId="9ed40bdc-079d-4cee-a990-4411351f7f9c" providerId="ADAL" clId="{DD93C774-82BE-4DBD-AB5E-BA44CCD0E829}" dt="2023-08-31T10:47:30.913" v="51692"/>
          <ac:cxnSpMkLst>
            <pc:docMk/>
            <pc:sldMk cId="3381536131" sldId="328"/>
            <ac:cxnSpMk id="51" creationId="{72EEEA22-7A15-88DB-1437-6A10145F1D0C}"/>
          </ac:cxnSpMkLst>
        </pc:cxnChg>
        <pc:cxnChg chg="add del mod ord replST">
          <ac:chgData name="Lim, Sharon" userId="9ed40bdc-079d-4cee-a990-4411351f7f9c" providerId="ADAL" clId="{DD93C774-82BE-4DBD-AB5E-BA44CCD0E829}" dt="2023-08-31T11:03:00.239" v="60094"/>
          <ac:cxnSpMkLst>
            <pc:docMk/>
            <pc:sldMk cId="3381536131" sldId="328"/>
            <ac:cxnSpMk id="53" creationId="{2FD8B784-887D-9C51-2A23-DE6D60D2D078}"/>
          </ac:cxnSpMkLst>
        </pc:cxnChg>
        <pc:cxnChg chg="del">
          <ac:chgData name="Lim, Sharon" userId="9ed40bdc-079d-4cee-a990-4411351f7f9c" providerId="ADAL" clId="{DD93C774-82BE-4DBD-AB5E-BA44CCD0E829}" dt="2023-08-31T10:44:39.669" v="47929"/>
          <ac:cxnSpMkLst>
            <pc:docMk/>
            <pc:sldMk cId="3381536131" sldId="328"/>
            <ac:cxnSpMk id="65" creationId="{F100D043-75D9-A212-6A22-E2938BAAE60E}"/>
          </ac:cxnSpMkLst>
        </pc:cxnChg>
        <pc:cxnChg chg="del">
          <ac:chgData name="Lim, Sharon" userId="9ed40bdc-079d-4cee-a990-4411351f7f9c" providerId="ADAL" clId="{DD93C774-82BE-4DBD-AB5E-BA44CCD0E829}" dt="2023-08-31T10:44:39.692" v="47958"/>
          <ac:cxnSpMkLst>
            <pc:docMk/>
            <pc:sldMk cId="3381536131" sldId="328"/>
            <ac:cxnSpMk id="66" creationId="{05EDC53B-F3A5-CCC7-0671-DAE20116D6D1}"/>
          </ac:cxnSpMkLst>
        </pc:cxnChg>
        <pc:cxnChg chg="add del mod ord replST">
          <ac:chgData name="Lim, Sharon" userId="9ed40bdc-079d-4cee-a990-4411351f7f9c" providerId="ADAL" clId="{DD93C774-82BE-4DBD-AB5E-BA44CCD0E829}" dt="2023-08-31T10:47:29.534" v="51595"/>
          <ac:cxnSpMkLst>
            <pc:docMk/>
            <pc:sldMk cId="3381536131" sldId="328"/>
            <ac:cxnSpMk id="73" creationId="{ABD0E3EE-B656-4C00-FE33-39F3AE36FAF4}"/>
          </ac:cxnSpMkLst>
        </pc:cxnChg>
        <pc:cxnChg chg="del">
          <ac:chgData name="Lim, Sharon" userId="9ed40bdc-079d-4cee-a990-4411351f7f9c" providerId="ADAL" clId="{DD93C774-82BE-4DBD-AB5E-BA44CCD0E829}" dt="2023-08-31T10:44:39.621" v="47871"/>
          <ac:cxnSpMkLst>
            <pc:docMk/>
            <pc:sldMk cId="3381536131" sldId="328"/>
            <ac:cxnSpMk id="81" creationId="{5CBCD235-8410-C624-2304-052D83C0D4A3}"/>
          </ac:cxnSpMkLst>
        </pc:cxnChg>
        <pc:cxnChg chg="del">
          <ac:chgData name="Lim, Sharon" userId="9ed40bdc-079d-4cee-a990-4411351f7f9c" providerId="ADAL" clId="{DD93C774-82BE-4DBD-AB5E-BA44CCD0E829}" dt="2023-08-31T10:44:39.646" v="47900"/>
          <ac:cxnSpMkLst>
            <pc:docMk/>
            <pc:sldMk cId="3381536131" sldId="328"/>
            <ac:cxnSpMk id="82" creationId="{3FCFA8DB-88B8-DC28-5FE1-D6E70898FDEE}"/>
          </ac:cxnSpMkLst>
        </pc:cxnChg>
        <pc:cxnChg chg="del">
          <ac:chgData name="Lim, Sharon" userId="9ed40bdc-079d-4cee-a990-4411351f7f9c" providerId="ADAL" clId="{DD93C774-82BE-4DBD-AB5E-BA44CCD0E829}" dt="2023-08-31T10:44:39.568" v="47813"/>
          <ac:cxnSpMkLst>
            <pc:docMk/>
            <pc:sldMk cId="3381536131" sldId="328"/>
            <ac:cxnSpMk id="85" creationId="{5FFF2E5F-A015-5A56-8BE4-412B1B813846}"/>
          </ac:cxnSpMkLst>
        </pc:cxnChg>
        <pc:cxnChg chg="add del mod ord replST">
          <ac:chgData name="Lim, Sharon" userId="9ed40bdc-079d-4cee-a990-4411351f7f9c" providerId="ADAL" clId="{DD93C774-82BE-4DBD-AB5E-BA44CCD0E829}" dt="2023-08-31T11:02:58.911" v="59985"/>
          <ac:cxnSpMkLst>
            <pc:docMk/>
            <pc:sldMk cId="3381536131" sldId="328"/>
            <ac:cxnSpMk id="89" creationId="{889C8C1C-FBFC-1833-E81C-A4EF9DA16403}"/>
          </ac:cxnSpMkLst>
        </pc:cxnChg>
        <pc:cxnChg chg="del">
          <ac:chgData name="Lim, Sharon" userId="9ed40bdc-079d-4cee-a990-4411351f7f9c" providerId="ADAL" clId="{DD93C774-82BE-4DBD-AB5E-BA44CCD0E829}" dt="2023-08-31T10:44:39.596" v="47842"/>
          <ac:cxnSpMkLst>
            <pc:docMk/>
            <pc:sldMk cId="3381536131" sldId="328"/>
            <ac:cxnSpMk id="92" creationId="{40FF8AAC-FC16-5F49-E0F3-BE3B78905AD9}"/>
          </ac:cxnSpMkLst>
        </pc:cxnChg>
        <pc:cxnChg chg="add del mod ord replST">
          <ac:chgData name="Lim, Sharon" userId="9ed40bdc-079d-4cee-a990-4411351f7f9c" providerId="ADAL" clId="{DD93C774-82BE-4DBD-AB5E-BA44CCD0E829}" dt="2023-08-31T10:47:57.466" v="52994"/>
          <ac:cxnSpMkLst>
            <pc:docMk/>
            <pc:sldMk cId="3381536131" sldId="328"/>
            <ac:cxnSpMk id="103" creationId="{F4960B1D-589E-EF8F-6FBC-D841B6AB1C03}"/>
          </ac:cxnSpMkLst>
        </pc:cxnChg>
        <pc:cxnChg chg="add del mod ord replST">
          <ac:chgData name="Lim, Sharon" userId="9ed40bdc-079d-4cee-a990-4411351f7f9c" providerId="ADAL" clId="{DD93C774-82BE-4DBD-AB5E-BA44CCD0E829}" dt="2023-08-31T10:48:00.104" v="53046"/>
          <ac:cxnSpMkLst>
            <pc:docMk/>
            <pc:sldMk cId="3381536131" sldId="328"/>
            <ac:cxnSpMk id="104" creationId="{910702C0-EE6D-E75E-6164-4C7F1D077EDE}"/>
          </ac:cxnSpMkLst>
        </pc:cxnChg>
        <pc:cxnChg chg="add del mod ord replST">
          <ac:chgData name="Lim, Sharon" userId="9ed40bdc-079d-4cee-a990-4411351f7f9c" providerId="ADAL" clId="{DD93C774-82BE-4DBD-AB5E-BA44CCD0E829}" dt="2023-08-31T11:03:03.114" v="60306"/>
          <ac:cxnSpMkLst>
            <pc:docMk/>
            <pc:sldMk cId="3381536131" sldId="328"/>
            <ac:cxnSpMk id="105" creationId="{F1B8C152-301C-C09D-9B2B-A2DAC7FBD88E}"/>
          </ac:cxnSpMkLst>
        </pc:cxnChg>
        <pc:cxnChg chg="add del mod ord replST">
          <ac:chgData name="Lim, Sharon" userId="9ed40bdc-079d-4cee-a990-4411351f7f9c" providerId="ADAL" clId="{DD93C774-82BE-4DBD-AB5E-BA44CCD0E829}" dt="2023-08-31T10:48:16.226" v="53551"/>
          <ac:cxnSpMkLst>
            <pc:docMk/>
            <pc:sldMk cId="3381536131" sldId="328"/>
            <ac:cxnSpMk id="119" creationId="{E1209340-8A41-8E5B-1CFF-9D22D6C9E1D6}"/>
          </ac:cxnSpMkLst>
        </pc:cxnChg>
        <pc:cxnChg chg="add del mod ord replST">
          <ac:chgData name="Lim, Sharon" userId="9ed40bdc-079d-4cee-a990-4411351f7f9c" providerId="ADAL" clId="{DD93C774-82BE-4DBD-AB5E-BA44CCD0E829}" dt="2023-09-01T03:27:30.401" v="66903"/>
          <ac:cxnSpMkLst>
            <pc:docMk/>
            <pc:sldMk cId="3381536131" sldId="328"/>
            <ac:cxnSpMk id="120" creationId="{DE331592-09E6-C1F5-CBDC-E9CA61F60A8C}"/>
          </ac:cxnSpMkLst>
        </pc:cxnChg>
        <pc:cxnChg chg="add del mod ord replST">
          <ac:chgData name="Lim, Sharon" userId="9ed40bdc-079d-4cee-a990-4411351f7f9c" providerId="ADAL" clId="{DD93C774-82BE-4DBD-AB5E-BA44CCD0E829}" dt="2023-08-31T11:02:55.237" v="59756"/>
          <ac:cxnSpMkLst>
            <pc:docMk/>
            <pc:sldMk cId="3381536131" sldId="328"/>
            <ac:cxnSpMk id="129" creationId="{C4636BE6-7649-AB99-957C-273CC7E9875A}"/>
          </ac:cxnSpMkLst>
        </pc:cxnChg>
        <pc:cxnChg chg="add del mod ord replST">
          <ac:chgData name="Lim, Sharon" userId="9ed40bdc-079d-4cee-a990-4411351f7f9c" providerId="ADAL" clId="{DD93C774-82BE-4DBD-AB5E-BA44CCD0E829}" dt="2023-08-31T11:03:01.568" v="60201"/>
          <ac:cxnSpMkLst>
            <pc:docMk/>
            <pc:sldMk cId="3381536131" sldId="328"/>
            <ac:cxnSpMk id="137" creationId="{4EFD8237-6972-FF2F-CDFE-FD1AB9868181}"/>
          </ac:cxnSpMkLst>
        </pc:cxnChg>
        <pc:cxnChg chg="add del mod ord replST">
          <ac:chgData name="Lim, Sharon" userId="9ed40bdc-079d-4cee-a990-4411351f7f9c" providerId="ADAL" clId="{DD93C774-82BE-4DBD-AB5E-BA44CCD0E829}" dt="2023-08-31T11:02:56.610" v="59872"/>
          <ac:cxnSpMkLst>
            <pc:docMk/>
            <pc:sldMk cId="3381536131" sldId="328"/>
            <ac:cxnSpMk id="154" creationId="{443D49F0-6EAD-09A2-6883-27D2EE0B7836}"/>
          </ac:cxnSpMkLst>
        </pc:cxnChg>
      </pc:sldChg>
      <pc:sldChg chg="addSp delSp modSp add mod ord modNotesTx">
        <pc:chgData name="Lim, Sharon" userId="9ed40bdc-079d-4cee-a990-4411351f7f9c" providerId="ADAL" clId="{DD93C774-82BE-4DBD-AB5E-BA44CCD0E829}" dt="2023-09-01T04:26:57.497" v="67523"/>
        <pc:sldMkLst>
          <pc:docMk/>
          <pc:sldMk cId="2975577739" sldId="329"/>
        </pc:sldMkLst>
        <pc:spChg chg="mod">
          <ac:chgData name="Lim, Sharon" userId="9ed40bdc-079d-4cee-a990-4411351f7f9c" providerId="ADAL" clId="{DD93C774-82BE-4DBD-AB5E-BA44CCD0E829}" dt="2023-08-31T12:01:21.746" v="60773" actId="20577"/>
          <ac:spMkLst>
            <pc:docMk/>
            <pc:sldMk cId="2975577739" sldId="329"/>
            <ac:spMk id="2" creationId="{27A70C6D-4F36-5634-67FD-DB702A91E413}"/>
          </ac:spMkLst>
        </pc:spChg>
        <pc:spChg chg="del">
          <ac:chgData name="Lim, Sharon" userId="9ed40bdc-079d-4cee-a990-4411351f7f9c" providerId="ADAL" clId="{DD93C774-82BE-4DBD-AB5E-BA44CCD0E829}" dt="2023-08-31T11:56:14.589" v="60608" actId="21"/>
          <ac:spMkLst>
            <pc:docMk/>
            <pc:sldMk cId="2975577739" sldId="329"/>
            <ac:spMk id="3" creationId="{309569E5-818D-E0AB-4B5B-831A3227E7F1}"/>
          </ac:spMkLst>
        </pc:spChg>
        <pc:spChg chg="mod">
          <ac:chgData name="Lim, Sharon" userId="9ed40bdc-079d-4cee-a990-4411351f7f9c" providerId="ADAL" clId="{DD93C774-82BE-4DBD-AB5E-BA44CCD0E829}" dt="2023-09-01T02:45:49.639" v="66409" actId="20577"/>
          <ac:spMkLst>
            <pc:docMk/>
            <pc:sldMk cId="2975577739" sldId="329"/>
            <ac:spMk id="5" creationId="{9727673B-8413-CCDC-BA64-7D07EAE62EA3}"/>
          </ac:spMkLst>
        </pc:spChg>
        <pc:spChg chg="del">
          <ac:chgData name="Lim, Sharon" userId="9ed40bdc-079d-4cee-a990-4411351f7f9c" providerId="ADAL" clId="{DD93C774-82BE-4DBD-AB5E-BA44CCD0E829}" dt="2023-08-31T11:59:25.671" v="60709" actId="478"/>
          <ac:spMkLst>
            <pc:docMk/>
            <pc:sldMk cId="2975577739" sldId="329"/>
            <ac:spMk id="6" creationId="{95F89051-279F-98F0-F3A3-E8717CF3EC24}"/>
          </ac:spMkLst>
        </pc:spChg>
        <pc:spChg chg="mod">
          <ac:chgData name="Lim, Sharon" userId="9ed40bdc-079d-4cee-a990-4411351f7f9c" providerId="ADAL" clId="{DD93C774-82BE-4DBD-AB5E-BA44CCD0E829}" dt="2023-08-31T12:01:00.313" v="60733" actId="14100"/>
          <ac:spMkLst>
            <pc:docMk/>
            <pc:sldMk cId="2975577739" sldId="329"/>
            <ac:spMk id="7" creationId="{D2F05241-B0C8-1B09-FB08-3F061308441B}"/>
          </ac:spMkLst>
        </pc:spChg>
        <pc:spChg chg="mod">
          <ac:chgData name="Lim, Sharon" userId="9ed40bdc-079d-4cee-a990-4411351f7f9c" providerId="ADAL" clId="{DD93C774-82BE-4DBD-AB5E-BA44CCD0E829}" dt="2023-09-01T03:50:50.320" v="67361" actId="2711"/>
          <ac:spMkLst>
            <pc:docMk/>
            <pc:sldMk cId="2975577739" sldId="329"/>
            <ac:spMk id="8" creationId="{CC547042-7CE4-54E6-6411-ADE13FFDB19A}"/>
          </ac:spMkLst>
        </pc:spChg>
        <pc:spChg chg="add mod">
          <ac:chgData name="Lim, Sharon" userId="9ed40bdc-079d-4cee-a990-4411351f7f9c" providerId="ADAL" clId="{DD93C774-82BE-4DBD-AB5E-BA44CCD0E829}" dt="2023-08-31T11:59:30.025" v="60710" actId="1076"/>
          <ac:spMkLst>
            <pc:docMk/>
            <pc:sldMk cId="2975577739" sldId="329"/>
            <ac:spMk id="10" creationId="{BC24C1ED-DC36-2CA0-FEEF-66CE0E4ED241}"/>
          </ac:spMkLst>
        </pc:spChg>
        <pc:spChg chg="add mod">
          <ac:chgData name="Lim, Sharon" userId="9ed40bdc-079d-4cee-a990-4411351f7f9c" providerId="ADAL" clId="{DD93C774-82BE-4DBD-AB5E-BA44CCD0E829}" dt="2023-08-31T13:06:41.620" v="63729" actId="20577"/>
          <ac:spMkLst>
            <pc:docMk/>
            <pc:sldMk cId="2975577739" sldId="329"/>
            <ac:spMk id="15" creationId="{FBD36EAE-7D7E-278D-1A34-61B0C8CB6270}"/>
          </ac:spMkLst>
        </pc:spChg>
        <pc:spChg chg="add mod">
          <ac:chgData name="Lim, Sharon" userId="9ed40bdc-079d-4cee-a990-4411351f7f9c" providerId="ADAL" clId="{DD93C774-82BE-4DBD-AB5E-BA44CCD0E829}" dt="2023-08-31T11:59:43.676" v="60726" actId="1035"/>
          <ac:spMkLst>
            <pc:docMk/>
            <pc:sldMk cId="2975577739" sldId="329"/>
            <ac:spMk id="16" creationId="{C442812B-A6BA-3F24-FFC1-0C6E20861803}"/>
          </ac:spMkLst>
        </pc:spChg>
        <pc:spChg chg="add mod">
          <ac:chgData name="Lim, Sharon" userId="9ed40bdc-079d-4cee-a990-4411351f7f9c" providerId="ADAL" clId="{DD93C774-82BE-4DBD-AB5E-BA44CCD0E829}" dt="2023-08-31T13:06:44.172" v="63733" actId="20577"/>
          <ac:spMkLst>
            <pc:docMk/>
            <pc:sldMk cId="2975577739" sldId="329"/>
            <ac:spMk id="20" creationId="{299ADF38-0263-E721-3193-1D557F0DC130}"/>
          </ac:spMkLst>
        </pc:spChg>
        <pc:spChg chg="add mod">
          <ac:chgData name="Lim, Sharon" userId="9ed40bdc-079d-4cee-a990-4411351f7f9c" providerId="ADAL" clId="{DD93C774-82BE-4DBD-AB5E-BA44CCD0E829}" dt="2023-08-31T11:59:54.343" v="60729" actId="1076"/>
          <ac:spMkLst>
            <pc:docMk/>
            <pc:sldMk cId="2975577739" sldId="329"/>
            <ac:spMk id="21" creationId="{1945E11F-DA88-8F1C-1316-8FD7945E473C}"/>
          </ac:spMkLst>
        </pc:spChg>
        <pc:spChg chg="add mod">
          <ac:chgData name="Lim, Sharon" userId="9ed40bdc-079d-4cee-a990-4411351f7f9c" providerId="ADAL" clId="{DD93C774-82BE-4DBD-AB5E-BA44CCD0E829}" dt="2023-09-01T02:43:09.412" v="66384"/>
          <ac:spMkLst>
            <pc:docMk/>
            <pc:sldMk cId="2975577739" sldId="329"/>
            <ac:spMk id="27" creationId="{028D0A89-A6BC-EF8C-F631-CDED08290E82}"/>
          </ac:spMkLst>
        </pc:spChg>
        <pc:spChg chg="del">
          <ac:chgData name="Lim, Sharon" userId="9ed40bdc-079d-4cee-a990-4411351f7f9c" providerId="ADAL" clId="{DD93C774-82BE-4DBD-AB5E-BA44CCD0E829}" dt="2023-08-31T11:34:59.840" v="60589"/>
          <ac:spMkLst>
            <pc:docMk/>
            <pc:sldMk cId="2975577739" sldId="329"/>
            <ac:spMk id="44" creationId="{157E2803-2BF7-ABD7-C482-D7A3AD0399C5}"/>
          </ac:spMkLst>
        </pc:spChg>
        <pc:spChg chg="del">
          <ac:chgData name="Lim, Sharon" userId="9ed40bdc-079d-4cee-a990-4411351f7f9c" providerId="ADAL" clId="{DD93C774-82BE-4DBD-AB5E-BA44CCD0E829}" dt="2023-08-31T11:34:59.839" v="60586"/>
          <ac:spMkLst>
            <pc:docMk/>
            <pc:sldMk cId="2975577739" sldId="329"/>
            <ac:spMk id="46" creationId="{DAE92E55-4AC9-5E00-1DC8-C08851D3D5BF}"/>
          </ac:spMkLst>
        </pc:spChg>
        <pc:spChg chg="del">
          <ac:chgData name="Lim, Sharon" userId="9ed40bdc-079d-4cee-a990-4411351f7f9c" providerId="ADAL" clId="{DD93C774-82BE-4DBD-AB5E-BA44CCD0E829}" dt="2023-08-31T11:34:59.837" v="60583"/>
          <ac:spMkLst>
            <pc:docMk/>
            <pc:sldMk cId="2975577739" sldId="329"/>
            <ac:spMk id="49" creationId="{AD67CEAD-175D-0847-C5C8-7CE7781BE82A}"/>
          </ac:spMkLst>
        </pc:spChg>
        <pc:spChg chg="del">
          <ac:chgData name="Lim, Sharon" userId="9ed40bdc-079d-4cee-a990-4411351f7f9c" providerId="ADAL" clId="{DD93C774-82BE-4DBD-AB5E-BA44CCD0E829}" dt="2023-08-31T11:34:59.835" v="60580"/>
          <ac:spMkLst>
            <pc:docMk/>
            <pc:sldMk cId="2975577739" sldId="329"/>
            <ac:spMk id="52" creationId="{B5EB1D99-5159-57D9-6A0C-7FB6EF23BA70}"/>
          </ac:spMkLst>
        </pc:spChg>
        <pc:spChg chg="add del">
          <ac:chgData name="Lim, Sharon" userId="9ed40bdc-079d-4cee-a990-4411351f7f9c" providerId="ADAL" clId="{DD93C774-82BE-4DBD-AB5E-BA44CCD0E829}" dt="2023-08-31T11:35:02.436" v="60604" actId="478"/>
          <ac:spMkLst>
            <pc:docMk/>
            <pc:sldMk cId="2975577739" sldId="329"/>
            <ac:spMk id="148" creationId="{2A5A37EC-A4FE-DC48-0707-625A8E7B0952}"/>
          </ac:spMkLst>
        </pc:spChg>
        <pc:spChg chg="del">
          <ac:chgData name="Lim, Sharon" userId="9ed40bdc-079d-4cee-a990-4411351f7f9c" providerId="ADAL" clId="{DD93C774-82BE-4DBD-AB5E-BA44CCD0E829}" dt="2023-08-31T11:34:59.841" v="60593"/>
          <ac:spMkLst>
            <pc:docMk/>
            <pc:sldMk cId="2975577739" sldId="329"/>
            <ac:spMk id="153" creationId="{157E2803-2BF7-ABD7-C482-D7A3AD0399C5}"/>
          </ac:spMkLst>
        </pc:spChg>
        <pc:spChg chg="del">
          <ac:chgData name="Lim, Sharon" userId="9ed40bdc-079d-4cee-a990-4411351f7f9c" providerId="ADAL" clId="{DD93C774-82BE-4DBD-AB5E-BA44CCD0E829}" dt="2023-08-31T11:34:59.843" v="60597"/>
          <ac:spMkLst>
            <pc:docMk/>
            <pc:sldMk cId="2975577739" sldId="329"/>
            <ac:spMk id="178" creationId="{157E2803-2BF7-ABD7-C482-D7A3AD0399C5}"/>
          </ac:spMkLst>
        </pc:spChg>
        <pc:spChg chg="del">
          <ac:chgData name="Lim, Sharon" userId="9ed40bdc-079d-4cee-a990-4411351f7f9c" providerId="ADAL" clId="{DD93C774-82BE-4DBD-AB5E-BA44CCD0E829}" dt="2023-08-31T11:34:59.843" v="60596"/>
          <ac:spMkLst>
            <pc:docMk/>
            <pc:sldMk cId="2975577739" sldId="329"/>
            <ac:spMk id="179" creationId="{157E2803-2BF7-ABD7-C482-D7A3AD0399C5}"/>
          </ac:spMkLst>
        </pc:spChg>
        <pc:spChg chg="del">
          <ac:chgData name="Lim, Sharon" userId="9ed40bdc-079d-4cee-a990-4411351f7f9c" providerId="ADAL" clId="{DD93C774-82BE-4DBD-AB5E-BA44CCD0E829}" dt="2023-08-31T11:34:59.843" v="60595"/>
          <ac:spMkLst>
            <pc:docMk/>
            <pc:sldMk cId="2975577739" sldId="329"/>
            <ac:spMk id="181" creationId="{157E2803-2BF7-ABD7-C482-D7A3AD0399C5}"/>
          </ac:spMkLst>
        </pc:spChg>
        <pc:spChg chg="del">
          <ac:chgData name="Lim, Sharon" userId="9ed40bdc-079d-4cee-a990-4411351f7f9c" providerId="ADAL" clId="{DD93C774-82BE-4DBD-AB5E-BA44CCD0E829}" dt="2023-08-31T11:34:59.843" v="60594"/>
          <ac:spMkLst>
            <pc:docMk/>
            <pc:sldMk cId="2975577739" sldId="329"/>
            <ac:spMk id="183" creationId="{157E2803-2BF7-ABD7-C482-D7A3AD0399C5}"/>
          </ac:spMkLst>
        </pc:spChg>
        <pc:spChg chg="del">
          <ac:chgData name="Lim, Sharon" userId="9ed40bdc-079d-4cee-a990-4411351f7f9c" providerId="ADAL" clId="{DD93C774-82BE-4DBD-AB5E-BA44CCD0E829}" dt="2023-08-31T11:28:54.130" v="60446" actId="478"/>
          <ac:spMkLst>
            <pc:docMk/>
            <pc:sldMk cId="2975577739" sldId="329"/>
            <ac:spMk id="194" creationId="{18C39292-5C89-6491-063A-ACD2FF3C5487}"/>
          </ac:spMkLst>
        </pc:spChg>
        <pc:spChg chg="del">
          <ac:chgData name="Lim, Sharon" userId="9ed40bdc-079d-4cee-a990-4411351f7f9c" providerId="ADAL" clId="{DD93C774-82BE-4DBD-AB5E-BA44CCD0E829}" dt="2023-08-31T11:28:54.130" v="60446" actId="478"/>
          <ac:spMkLst>
            <pc:docMk/>
            <pc:sldMk cId="2975577739" sldId="329"/>
            <ac:spMk id="195" creationId="{BC5E1F38-5241-1A0F-A83C-CA3E5236C884}"/>
          </ac:spMkLst>
        </pc:spChg>
        <pc:graphicFrameChg chg="mod">
          <ac:chgData name="Lim, Sharon" userId="9ed40bdc-079d-4cee-a990-4411351f7f9c" providerId="ADAL" clId="{DD93C774-82BE-4DBD-AB5E-BA44CCD0E829}" dt="2023-08-31T11:34:59.856" v="60603"/>
          <ac:graphicFrameMkLst>
            <pc:docMk/>
            <pc:sldMk cId="2975577739" sldId="329"/>
            <ac:graphicFrameMk id="4" creationId="{DF641BDA-2511-C092-BA40-27C321E82FFD}"/>
          </ac:graphicFrameMkLst>
        </pc:graphicFrameChg>
        <pc:graphicFrameChg chg="del">
          <ac:chgData name="Lim, Sharon" userId="9ed40bdc-079d-4cee-a990-4411351f7f9c" providerId="ADAL" clId="{DD93C774-82BE-4DBD-AB5E-BA44CCD0E829}" dt="2023-08-31T11:34:59.845" v="60599"/>
          <ac:graphicFrameMkLst>
            <pc:docMk/>
            <pc:sldMk cId="2975577739" sldId="329"/>
            <ac:graphicFrameMk id="209" creationId="{D6C98AD9-3190-7947-F147-7D7D8AA1884C}"/>
          </ac:graphicFrameMkLst>
        </pc:graphicFrameChg>
        <pc:picChg chg="add del mod">
          <ac:chgData name="Lim, Sharon" userId="9ed40bdc-079d-4cee-a990-4411351f7f9c" providerId="ADAL" clId="{DD93C774-82BE-4DBD-AB5E-BA44CCD0E829}" dt="2023-09-01T02:25:09.219" v="66292" actId="478"/>
          <ac:picMkLst>
            <pc:docMk/>
            <pc:sldMk cId="2975577739" sldId="329"/>
            <ac:picMk id="9" creationId="{EAD0840F-51B9-46FB-FD59-D0CEDC16CF15}"/>
          </ac:picMkLst>
        </pc:picChg>
        <pc:picChg chg="add del mod">
          <ac:chgData name="Lim, Sharon" userId="9ed40bdc-079d-4cee-a990-4411351f7f9c" providerId="ADAL" clId="{DD93C774-82BE-4DBD-AB5E-BA44CCD0E829}" dt="2023-08-31T11:58:16.482" v="60698" actId="478"/>
          <ac:picMkLst>
            <pc:docMk/>
            <pc:sldMk cId="2975577739" sldId="329"/>
            <ac:picMk id="17" creationId="{F69491F9-E047-EBF4-F5D0-CFBB98C2203E}"/>
          </ac:picMkLst>
        </pc:picChg>
        <pc:picChg chg="add del mod">
          <ac:chgData name="Lim, Sharon" userId="9ed40bdc-079d-4cee-a990-4411351f7f9c" providerId="ADAL" clId="{DD93C774-82BE-4DBD-AB5E-BA44CCD0E829}" dt="2023-08-31T11:58:16.482" v="60698" actId="478"/>
          <ac:picMkLst>
            <pc:docMk/>
            <pc:sldMk cId="2975577739" sldId="329"/>
            <ac:picMk id="18" creationId="{88C05B4B-D696-2000-77C7-BA9DC3DE2CB8}"/>
          </ac:picMkLst>
        </pc:picChg>
        <pc:picChg chg="add del mod">
          <ac:chgData name="Lim, Sharon" userId="9ed40bdc-079d-4cee-a990-4411351f7f9c" providerId="ADAL" clId="{DD93C774-82BE-4DBD-AB5E-BA44CCD0E829}" dt="2023-08-31T12:13:57.010" v="61253" actId="478"/>
          <ac:picMkLst>
            <pc:docMk/>
            <pc:sldMk cId="2975577739" sldId="329"/>
            <ac:picMk id="19" creationId="{7CA0DE08-5BD2-324D-456D-D62AC3544C20}"/>
          </ac:picMkLst>
        </pc:picChg>
        <pc:picChg chg="add del mod">
          <ac:chgData name="Lim, Sharon" userId="9ed40bdc-079d-4cee-a990-4411351f7f9c" providerId="ADAL" clId="{DD93C774-82BE-4DBD-AB5E-BA44CCD0E829}" dt="2023-08-31T12:14:44.071" v="61259" actId="478"/>
          <ac:picMkLst>
            <pc:docMk/>
            <pc:sldMk cId="2975577739" sldId="329"/>
            <ac:picMk id="22" creationId="{9ADECF91-FD48-80C3-9C36-0D8CF825CECE}"/>
          </ac:picMkLst>
        </pc:picChg>
        <pc:picChg chg="add mod">
          <ac:chgData name="Lim, Sharon" userId="9ed40bdc-079d-4cee-a990-4411351f7f9c" providerId="ADAL" clId="{DD93C774-82BE-4DBD-AB5E-BA44CCD0E829}" dt="2023-08-31T12:14:16.901" v="61258" actId="14100"/>
          <ac:picMkLst>
            <pc:docMk/>
            <pc:sldMk cId="2975577739" sldId="329"/>
            <ac:picMk id="23" creationId="{8E274317-3579-98AA-E25E-F5FB06E9DD57}"/>
          </ac:picMkLst>
        </pc:picChg>
        <pc:picChg chg="add mod">
          <ac:chgData name="Lim, Sharon" userId="9ed40bdc-079d-4cee-a990-4411351f7f9c" providerId="ADAL" clId="{DD93C774-82BE-4DBD-AB5E-BA44CCD0E829}" dt="2023-08-31T12:14:59.528" v="61263" actId="14100"/>
          <ac:picMkLst>
            <pc:docMk/>
            <pc:sldMk cId="2975577739" sldId="329"/>
            <ac:picMk id="24" creationId="{A2B9D301-0683-54AF-7D6D-7A44BBD8C220}"/>
          </ac:picMkLst>
        </pc:picChg>
        <pc:picChg chg="add mod">
          <ac:chgData name="Lim, Sharon" userId="9ed40bdc-079d-4cee-a990-4411351f7f9c" providerId="ADAL" clId="{DD93C774-82BE-4DBD-AB5E-BA44CCD0E829}" dt="2023-09-01T02:25:26.977" v="66298" actId="14100"/>
          <ac:picMkLst>
            <pc:docMk/>
            <pc:sldMk cId="2975577739" sldId="329"/>
            <ac:picMk id="26" creationId="{CB8A2DE1-E590-C464-182C-19884AC65189}"/>
          </ac:picMkLst>
        </pc:picChg>
        <pc:picChg chg="del">
          <ac:chgData name="Lim, Sharon" userId="9ed40bdc-079d-4cee-a990-4411351f7f9c" providerId="ADAL" clId="{DD93C774-82BE-4DBD-AB5E-BA44CCD0E829}" dt="2023-08-31T11:28:54.130" v="60446" actId="478"/>
          <ac:picMkLst>
            <pc:docMk/>
            <pc:sldMk cId="2975577739" sldId="329"/>
            <ac:picMk id="214" creationId="{3EF2C13D-B293-D578-9DE8-6CCC2B370F94}"/>
          </ac:picMkLst>
        </pc:picChg>
        <pc:cxnChg chg="del">
          <ac:chgData name="Lim, Sharon" userId="9ed40bdc-079d-4cee-a990-4411351f7f9c" providerId="ADAL" clId="{DD93C774-82BE-4DBD-AB5E-BA44CCD0E829}" dt="2023-08-31T11:34:59.840" v="60588"/>
          <ac:cxnSpMkLst>
            <pc:docMk/>
            <pc:sldMk cId="2975577739" sldId="329"/>
            <ac:cxnSpMk id="11" creationId="{EB4E5EB8-E3CC-E6FC-13AE-70D0B72E7AEC}"/>
          </ac:cxnSpMkLst>
        </pc:cxnChg>
        <pc:cxnChg chg="del">
          <ac:chgData name="Lim, Sharon" userId="9ed40bdc-079d-4cee-a990-4411351f7f9c" providerId="ADAL" clId="{DD93C774-82BE-4DBD-AB5E-BA44CCD0E829}" dt="2023-08-31T11:34:59.838" v="60585"/>
          <ac:cxnSpMkLst>
            <pc:docMk/>
            <pc:sldMk cId="2975577739" sldId="329"/>
            <ac:cxnSpMk id="12" creationId="{CCD6F08C-DDA9-88A5-9633-1EF021F40F74}"/>
          </ac:cxnSpMkLst>
        </pc:cxnChg>
        <pc:cxnChg chg="del">
          <ac:chgData name="Lim, Sharon" userId="9ed40bdc-079d-4cee-a990-4411351f7f9c" providerId="ADAL" clId="{DD93C774-82BE-4DBD-AB5E-BA44CCD0E829}" dt="2023-08-31T11:34:59.837" v="60582"/>
          <ac:cxnSpMkLst>
            <pc:docMk/>
            <pc:sldMk cId="2975577739" sldId="329"/>
            <ac:cxnSpMk id="13" creationId="{7FF9A023-C82E-3BEB-238B-B1016EB7ECB1}"/>
          </ac:cxnSpMkLst>
        </pc:cxnChg>
        <pc:cxnChg chg="del">
          <ac:chgData name="Lim, Sharon" userId="9ed40bdc-079d-4cee-a990-4411351f7f9c" providerId="ADAL" clId="{DD93C774-82BE-4DBD-AB5E-BA44CCD0E829}" dt="2023-08-31T11:34:59.835" v="60579"/>
          <ac:cxnSpMkLst>
            <pc:docMk/>
            <pc:sldMk cId="2975577739" sldId="329"/>
            <ac:cxnSpMk id="14" creationId="{C177DAC9-1987-74CD-CAD7-CB09BC8B193C}"/>
          </ac:cxnSpMkLst>
        </pc:cxnChg>
        <pc:cxnChg chg="del">
          <ac:chgData name="Lim, Sharon" userId="9ed40bdc-079d-4cee-a990-4411351f7f9c" providerId="ADAL" clId="{DD93C774-82BE-4DBD-AB5E-BA44CCD0E829}" dt="2023-08-31T11:34:59.841" v="60591"/>
          <ac:cxnSpMkLst>
            <pc:docMk/>
            <pc:sldMk cId="2975577739" sldId="329"/>
            <ac:cxnSpMk id="120" creationId="{DE331592-09E6-C1F5-CBDC-E9CA61F60A8C}"/>
          </ac:cxnSpMkLst>
        </pc:cxnChg>
      </pc:sldChg>
      <pc:sldChg chg="addSp delSp modSp add mod delAnim">
        <pc:chgData name="Lim, Sharon" userId="9ed40bdc-079d-4cee-a990-4411351f7f9c" providerId="ADAL" clId="{DD93C774-82BE-4DBD-AB5E-BA44CCD0E829}" dt="2023-09-01T03:54:30.318" v="67363" actId="20577"/>
        <pc:sldMkLst>
          <pc:docMk/>
          <pc:sldMk cId="425831517" sldId="330"/>
        </pc:sldMkLst>
        <pc:spChg chg="mod">
          <ac:chgData name="Lim, Sharon" userId="9ed40bdc-079d-4cee-a990-4411351f7f9c" providerId="ADAL" clId="{DD93C774-82BE-4DBD-AB5E-BA44CCD0E829}" dt="2023-08-31T12:56:29.035" v="63654" actId="20577"/>
          <ac:spMkLst>
            <pc:docMk/>
            <pc:sldMk cId="425831517" sldId="330"/>
            <ac:spMk id="2" creationId="{0A75B4C7-E620-27F2-4C08-D763BE9B9F7A}"/>
          </ac:spMkLst>
        </pc:spChg>
        <pc:spChg chg="mod">
          <ac:chgData name="Lim, Sharon" userId="9ed40bdc-079d-4cee-a990-4411351f7f9c" providerId="ADAL" clId="{DD93C774-82BE-4DBD-AB5E-BA44CCD0E829}" dt="2023-08-31T12:57:29.943" v="63725"/>
          <ac:spMkLst>
            <pc:docMk/>
            <pc:sldMk cId="425831517" sldId="330"/>
            <ac:spMk id="5" creationId="{9727673B-8413-CCDC-BA64-7D07EAE62EA3}"/>
          </ac:spMkLst>
        </pc:spChg>
        <pc:spChg chg="mod">
          <ac:chgData name="Lim, Sharon" userId="9ed40bdc-079d-4cee-a990-4411351f7f9c" providerId="ADAL" clId="{DD93C774-82BE-4DBD-AB5E-BA44CCD0E829}" dt="2023-08-31T12:56:48.459" v="63718" actId="20577"/>
          <ac:spMkLst>
            <pc:docMk/>
            <pc:sldMk cId="425831517" sldId="330"/>
            <ac:spMk id="7" creationId="{7D1DB623-6192-2888-9F62-A037949F23BC}"/>
          </ac:spMkLst>
        </pc:spChg>
        <pc:spChg chg="del">
          <ac:chgData name="Lim, Sharon" userId="9ed40bdc-079d-4cee-a990-4411351f7f9c" providerId="ADAL" clId="{DD93C774-82BE-4DBD-AB5E-BA44CCD0E829}" dt="2023-08-31T12:56:25.967" v="63651" actId="478"/>
          <ac:spMkLst>
            <pc:docMk/>
            <pc:sldMk cId="425831517" sldId="330"/>
            <ac:spMk id="14" creationId="{B71C36C4-8F67-5011-9432-DE555E8E6EE1}"/>
          </ac:spMkLst>
        </pc:spChg>
        <pc:spChg chg="mod">
          <ac:chgData name="Lim, Sharon" userId="9ed40bdc-079d-4cee-a990-4411351f7f9c" providerId="ADAL" clId="{DD93C774-82BE-4DBD-AB5E-BA44CCD0E829}" dt="2023-09-01T03:26:32.275" v="66814" actId="1076"/>
          <ac:spMkLst>
            <pc:docMk/>
            <pc:sldMk cId="425831517" sldId="330"/>
            <ac:spMk id="15" creationId="{88775B6C-9C34-4020-DD10-7CF9644BBE20}"/>
          </ac:spMkLst>
        </pc:spChg>
        <pc:spChg chg="add mod">
          <ac:chgData name="Lim, Sharon" userId="9ed40bdc-079d-4cee-a990-4411351f7f9c" providerId="ADAL" clId="{DD93C774-82BE-4DBD-AB5E-BA44CCD0E829}" dt="2023-09-01T03:54:30.318" v="67363" actId="20577"/>
          <ac:spMkLst>
            <pc:docMk/>
            <pc:sldMk cId="425831517" sldId="330"/>
            <ac:spMk id="16" creationId="{87632306-6D55-E648-1AA8-E10E33D0A099}"/>
          </ac:spMkLst>
        </pc:spChg>
        <pc:picChg chg="del">
          <ac:chgData name="Lim, Sharon" userId="9ed40bdc-079d-4cee-a990-4411351f7f9c" providerId="ADAL" clId="{DD93C774-82BE-4DBD-AB5E-BA44CCD0E829}" dt="2023-08-31T12:56:24.060" v="63650" actId="478"/>
          <ac:picMkLst>
            <pc:docMk/>
            <pc:sldMk cId="425831517" sldId="330"/>
            <ac:picMk id="8" creationId="{8DADEC5A-685C-2563-F0B3-1EE0C9543B05}"/>
          </ac:picMkLst>
        </pc:picChg>
        <pc:picChg chg="del">
          <ac:chgData name="Lim, Sharon" userId="9ed40bdc-079d-4cee-a990-4411351f7f9c" providerId="ADAL" clId="{DD93C774-82BE-4DBD-AB5E-BA44CCD0E829}" dt="2023-08-31T12:56:23.619" v="63649" actId="478"/>
          <ac:picMkLst>
            <pc:docMk/>
            <pc:sldMk cId="425831517" sldId="330"/>
            <ac:picMk id="10" creationId="{87056EA1-2A44-EBBF-50BA-D87145AEDE3F}"/>
          </ac:picMkLst>
        </pc:picChg>
        <pc:picChg chg="del">
          <ac:chgData name="Lim, Sharon" userId="9ed40bdc-079d-4cee-a990-4411351f7f9c" providerId="ADAL" clId="{DD93C774-82BE-4DBD-AB5E-BA44CCD0E829}" dt="2023-08-31T12:56:23.001" v="63648" actId="478"/>
          <ac:picMkLst>
            <pc:docMk/>
            <pc:sldMk cId="425831517" sldId="330"/>
            <ac:picMk id="11" creationId="{3D925652-3FF8-8A13-B569-031BE99437D8}"/>
          </ac:picMkLst>
        </pc:picChg>
        <pc:picChg chg="mod">
          <ac:chgData name="Lim, Sharon" userId="9ed40bdc-079d-4cee-a990-4411351f7f9c" providerId="ADAL" clId="{DD93C774-82BE-4DBD-AB5E-BA44CCD0E829}" dt="2023-09-01T02:06:19.079" v="65725" actId="1076"/>
          <ac:picMkLst>
            <pc:docMk/>
            <pc:sldMk cId="425831517" sldId="330"/>
            <ac:picMk id="11" creationId="{3FDCCED9-4267-8A91-F82D-C64DE539DB85}"/>
          </ac:picMkLst>
        </pc:picChg>
        <pc:picChg chg="del">
          <ac:chgData name="Lim, Sharon" userId="9ed40bdc-079d-4cee-a990-4411351f7f9c" providerId="ADAL" clId="{DD93C774-82BE-4DBD-AB5E-BA44CCD0E829}" dt="2023-08-31T12:56:22.407" v="63647" actId="478"/>
          <ac:picMkLst>
            <pc:docMk/>
            <pc:sldMk cId="425831517" sldId="330"/>
            <ac:picMk id="12" creationId="{5DD64435-8C52-1CA0-402F-C8EAB511CFDA}"/>
          </ac:picMkLst>
        </pc:picChg>
        <pc:picChg chg="mod">
          <ac:chgData name="Lim, Sharon" userId="9ed40bdc-079d-4cee-a990-4411351f7f9c" providerId="ADAL" clId="{DD93C774-82BE-4DBD-AB5E-BA44CCD0E829}" dt="2023-09-01T03:26:19.873" v="66810" actId="1076"/>
          <ac:picMkLst>
            <pc:docMk/>
            <pc:sldMk cId="425831517" sldId="330"/>
            <ac:picMk id="12" creationId="{719A15E3-7CD1-00BB-2CC1-D276E7F52BF9}"/>
          </ac:picMkLst>
        </pc:picChg>
        <pc:picChg chg="del">
          <ac:chgData name="Lim, Sharon" userId="9ed40bdc-079d-4cee-a990-4411351f7f9c" providerId="ADAL" clId="{DD93C774-82BE-4DBD-AB5E-BA44CCD0E829}" dt="2023-08-31T12:56:21.647" v="63646" actId="478"/>
          <ac:picMkLst>
            <pc:docMk/>
            <pc:sldMk cId="425831517" sldId="330"/>
            <ac:picMk id="13" creationId="{07DC1195-3130-B704-1296-BD3A97BF1441}"/>
          </ac:picMkLst>
        </pc:picChg>
        <pc:picChg chg="mod">
          <ac:chgData name="Lim, Sharon" userId="9ed40bdc-079d-4cee-a990-4411351f7f9c" providerId="ADAL" clId="{DD93C774-82BE-4DBD-AB5E-BA44CCD0E829}" dt="2023-09-01T03:26:22.263" v="66811" actId="1076"/>
          <ac:picMkLst>
            <pc:docMk/>
            <pc:sldMk cId="425831517" sldId="330"/>
            <ac:picMk id="13" creationId="{8063CF33-F327-0C12-7447-ADE137E4D66D}"/>
          </ac:picMkLst>
        </pc:picChg>
        <pc:picChg chg="mod">
          <ac:chgData name="Lim, Sharon" userId="9ed40bdc-079d-4cee-a990-4411351f7f9c" providerId="ADAL" clId="{DD93C774-82BE-4DBD-AB5E-BA44CCD0E829}" dt="2023-09-01T03:26:28.112" v="66813" actId="14100"/>
          <ac:picMkLst>
            <pc:docMk/>
            <pc:sldMk cId="425831517" sldId="330"/>
            <ac:picMk id="14" creationId="{46DD8DE1-2FF9-0504-743A-D6370931D41A}"/>
          </ac:picMkLst>
        </pc:picChg>
      </pc:sldChg>
      <pc:sldChg chg="addSp modSp add mod ord">
        <pc:chgData name="Lim, Sharon" userId="9ed40bdc-079d-4cee-a990-4411351f7f9c" providerId="ADAL" clId="{DD93C774-82BE-4DBD-AB5E-BA44CCD0E829}" dt="2023-09-01T03:55:37.641" v="67365" actId="20577"/>
        <pc:sldMkLst>
          <pc:docMk/>
          <pc:sldMk cId="734423579" sldId="332"/>
        </pc:sldMkLst>
        <pc:spChg chg="add mod">
          <ac:chgData name="Lim, Sharon" userId="9ed40bdc-079d-4cee-a990-4411351f7f9c" providerId="ADAL" clId="{DD93C774-82BE-4DBD-AB5E-BA44CCD0E829}" dt="2023-09-01T03:55:37.641" v="67365" actId="20577"/>
          <ac:spMkLst>
            <pc:docMk/>
            <pc:sldMk cId="734423579" sldId="332"/>
            <ac:spMk id="2" creationId="{C77D49B7-8D9C-985E-9EF5-CC77BC3FE00B}"/>
          </ac:spMkLst>
        </pc:spChg>
        <pc:picChg chg="mod modCrop">
          <ac:chgData name="Lim, Sharon" userId="9ed40bdc-079d-4cee-a990-4411351f7f9c" providerId="ADAL" clId="{DD93C774-82BE-4DBD-AB5E-BA44CCD0E829}" dt="2023-09-01T03:36:23.635" v="66995" actId="1076"/>
          <ac:picMkLst>
            <pc:docMk/>
            <pc:sldMk cId="734423579" sldId="332"/>
            <ac:picMk id="3" creationId="{341332B4-4F1F-BC05-819B-2D0523437B6B}"/>
          </ac:picMkLst>
        </pc:picChg>
        <pc:picChg chg="add mod">
          <ac:chgData name="Lim, Sharon" userId="9ed40bdc-079d-4cee-a990-4411351f7f9c" providerId="ADAL" clId="{DD93C774-82BE-4DBD-AB5E-BA44CCD0E829}" dt="2023-09-01T03:36:20.191" v="66994" actId="1076"/>
          <ac:picMkLst>
            <pc:docMk/>
            <pc:sldMk cId="734423579" sldId="332"/>
            <ac:picMk id="4" creationId="{59B9ED6B-4ABA-4A92-6608-808F261B376B}"/>
          </ac:picMkLst>
        </pc:picChg>
      </pc:sldChg>
      <pc:sldChg chg="addSp delSp modSp del mod">
        <pc:chgData name="Lim, Sharon" userId="9ed40bdc-079d-4cee-a990-4411351f7f9c" providerId="ADAL" clId="{DD93C774-82BE-4DBD-AB5E-BA44CCD0E829}" dt="2023-09-01T02:31:52.263" v="66311" actId="2696"/>
        <pc:sldMkLst>
          <pc:docMk/>
          <pc:sldMk cId="2427774306" sldId="332"/>
        </pc:sldMkLst>
        <pc:spChg chg="add del mod">
          <ac:chgData name="Lim, Sharon" userId="9ed40bdc-079d-4cee-a990-4411351f7f9c" providerId="ADAL" clId="{DD93C774-82BE-4DBD-AB5E-BA44CCD0E829}" dt="2023-09-01T02:15:49.704" v="66269" actId="478"/>
          <ac:spMkLst>
            <pc:docMk/>
            <pc:sldMk cId="2427774306" sldId="332"/>
            <ac:spMk id="2" creationId="{08A29496-E48B-1AC9-156E-41EEDC500E88}"/>
          </ac:spMkLst>
        </pc:spChg>
      </pc:sldChg>
      <pc:sldChg chg="addSp modSp del mod">
        <pc:chgData name="Lim, Sharon" userId="9ed40bdc-079d-4cee-a990-4411351f7f9c" providerId="ADAL" clId="{DD93C774-82BE-4DBD-AB5E-BA44CCD0E829}" dt="2023-09-01T03:36:27.819" v="66996" actId="47"/>
        <pc:sldMkLst>
          <pc:docMk/>
          <pc:sldMk cId="228706509" sldId="333"/>
        </pc:sldMkLst>
        <pc:spChg chg="add mod">
          <ac:chgData name="Lim, Sharon" userId="9ed40bdc-079d-4cee-a990-4411351f7f9c" providerId="ADAL" clId="{DD93C774-82BE-4DBD-AB5E-BA44CCD0E829}" dt="2023-09-01T02:44:18.550" v="66391"/>
          <ac:spMkLst>
            <pc:docMk/>
            <pc:sldMk cId="228706509" sldId="333"/>
            <ac:spMk id="2" creationId="{3C715915-7E87-A9AE-14C5-2678D9135ADA}"/>
          </ac:spMkLst>
        </pc:spChg>
        <pc:picChg chg="mod modCrop">
          <ac:chgData name="Lim, Sharon" userId="9ed40bdc-079d-4cee-a990-4411351f7f9c" providerId="ADAL" clId="{DD93C774-82BE-4DBD-AB5E-BA44CCD0E829}" dt="2023-09-01T03:35:48.096" v="66990" actId="1076"/>
          <ac:picMkLst>
            <pc:docMk/>
            <pc:sldMk cId="228706509" sldId="333"/>
            <ac:picMk id="3" creationId="{2A1F1A4D-F0E5-F6A9-CF6C-E740128B6ED8}"/>
          </ac:picMkLst>
        </pc:picChg>
      </pc:sldChg>
      <pc:sldChg chg="addSp delSp modSp del mod">
        <pc:chgData name="Lim, Sharon" userId="9ed40bdc-079d-4cee-a990-4411351f7f9c" providerId="ADAL" clId="{DD93C774-82BE-4DBD-AB5E-BA44CCD0E829}" dt="2023-09-01T02:19:48.450" v="66277" actId="2696"/>
        <pc:sldMkLst>
          <pc:docMk/>
          <pc:sldMk cId="2229906648" sldId="334"/>
        </pc:sldMkLst>
        <pc:spChg chg="add del mod">
          <ac:chgData name="Lim, Sharon" userId="9ed40bdc-079d-4cee-a990-4411351f7f9c" providerId="ADAL" clId="{DD93C774-82BE-4DBD-AB5E-BA44CCD0E829}" dt="2023-09-01T02:14:22.033" v="66268" actId="478"/>
          <ac:spMkLst>
            <pc:docMk/>
            <pc:sldMk cId="2229906648" sldId="334"/>
            <ac:spMk id="2" creationId="{AE3E1237-861A-2972-497D-BE8B7EEC8871}"/>
          </ac:spMkLst>
        </pc:spChg>
      </pc:sldChg>
      <pc:sldChg chg="add">
        <pc:chgData name="Lim, Sharon" userId="9ed40bdc-079d-4cee-a990-4411351f7f9c" providerId="ADAL" clId="{DD93C774-82BE-4DBD-AB5E-BA44CCD0E829}" dt="2023-09-01T02:19:50.602" v="66278"/>
        <pc:sldMkLst>
          <pc:docMk/>
          <pc:sldMk cId="2488955592" sldId="334"/>
        </pc:sldMkLst>
      </pc:sldChg>
      <pc:sldChg chg="modSp add del mod ord">
        <pc:chgData name="Lim, Sharon" userId="9ed40bdc-079d-4cee-a990-4411351f7f9c" providerId="ADAL" clId="{DD93C774-82BE-4DBD-AB5E-BA44CCD0E829}" dt="2023-09-01T02:39:14.791" v="66345" actId="47"/>
        <pc:sldMkLst>
          <pc:docMk/>
          <pc:sldMk cId="1610706451" sldId="335"/>
        </pc:sldMkLst>
        <pc:picChg chg="mod modCrop">
          <ac:chgData name="Lim, Sharon" userId="9ed40bdc-079d-4cee-a990-4411351f7f9c" providerId="ADAL" clId="{DD93C774-82BE-4DBD-AB5E-BA44CCD0E829}" dt="2023-09-01T02:30:16.338" v="66310" actId="1076"/>
          <ac:picMkLst>
            <pc:docMk/>
            <pc:sldMk cId="1610706451" sldId="335"/>
            <ac:picMk id="11" creationId="{1A3712DF-FC4F-1C2D-7A1B-0A9B4227E18A}"/>
          </ac:picMkLst>
        </pc:picChg>
      </pc:sldChg>
      <pc:sldChg chg="addSp delSp modSp add mod">
        <pc:chgData name="Lim, Sharon" userId="9ed40bdc-079d-4cee-a990-4411351f7f9c" providerId="ADAL" clId="{DD93C774-82BE-4DBD-AB5E-BA44CCD0E829}" dt="2023-09-01T00:52:31.467" v="64164" actId="20577"/>
        <pc:sldMkLst>
          <pc:docMk/>
          <pc:sldMk cId="580382196" sldId="336"/>
        </pc:sldMkLst>
        <pc:spChg chg="add mod">
          <ac:chgData name="Lim, Sharon" userId="9ed40bdc-079d-4cee-a990-4411351f7f9c" providerId="ADAL" clId="{DD93C774-82BE-4DBD-AB5E-BA44CCD0E829}" dt="2023-09-01T00:52:31.467" v="64164" actId="20577"/>
          <ac:spMkLst>
            <pc:docMk/>
            <pc:sldMk cId="580382196" sldId="336"/>
            <ac:spMk id="2" creationId="{57CE61F8-CC43-D7EB-F4F3-057B58DC502F}"/>
          </ac:spMkLst>
        </pc:spChg>
        <pc:spChg chg="mod">
          <ac:chgData name="Lim, Sharon" userId="9ed40bdc-079d-4cee-a990-4411351f7f9c" providerId="ADAL" clId="{DD93C774-82BE-4DBD-AB5E-BA44CCD0E829}" dt="2023-09-01T00:47:20.864" v="63798" actId="20577"/>
          <ac:spMkLst>
            <pc:docMk/>
            <pc:sldMk cId="580382196" sldId="336"/>
            <ac:spMk id="5" creationId="{9727673B-8413-CCDC-BA64-7D07EAE62EA3}"/>
          </ac:spMkLst>
        </pc:spChg>
        <pc:spChg chg="del">
          <ac:chgData name="Lim, Sharon" userId="9ed40bdc-079d-4cee-a990-4411351f7f9c" providerId="ADAL" clId="{DD93C774-82BE-4DBD-AB5E-BA44CCD0E829}" dt="2023-09-01T00:47:17.620" v="63787" actId="478"/>
          <ac:spMkLst>
            <pc:docMk/>
            <pc:sldMk cId="580382196" sldId="336"/>
            <ac:spMk id="6" creationId="{95F89051-279F-98F0-F3A3-E8717CF3EC24}"/>
          </ac:spMkLst>
        </pc:spChg>
      </pc:sldChg>
      <pc:sldChg chg="add del">
        <pc:chgData name="Lim, Sharon" userId="9ed40bdc-079d-4cee-a990-4411351f7f9c" providerId="ADAL" clId="{DD93C774-82BE-4DBD-AB5E-BA44CCD0E829}" dt="2023-09-01T00:25:46.065" v="63781"/>
        <pc:sldMkLst>
          <pc:docMk/>
          <pc:sldMk cId="3588140048" sldId="336"/>
        </pc:sldMkLst>
      </pc:sldChg>
      <pc:sldChg chg="add">
        <pc:chgData name="Lim, Sharon" userId="9ed40bdc-079d-4cee-a990-4411351f7f9c" providerId="ADAL" clId="{DD93C774-82BE-4DBD-AB5E-BA44CCD0E829}" dt="2023-09-01T01:31:04.528" v="64352"/>
        <pc:sldMkLst>
          <pc:docMk/>
          <pc:sldMk cId="444628649" sldId="337"/>
        </pc:sldMkLst>
      </pc:sldChg>
      <pc:sldChg chg="addSp delSp modSp add mod">
        <pc:chgData name="Lim, Sharon" userId="9ed40bdc-079d-4cee-a990-4411351f7f9c" providerId="ADAL" clId="{DD93C774-82BE-4DBD-AB5E-BA44CCD0E829}" dt="2023-09-01T02:42:35.898" v="66375"/>
        <pc:sldMkLst>
          <pc:docMk/>
          <pc:sldMk cId="3651499539" sldId="337"/>
        </pc:sldMkLst>
        <pc:spChg chg="mod">
          <ac:chgData name="Lim, Sharon" userId="9ed40bdc-079d-4cee-a990-4411351f7f9c" providerId="ADAL" clId="{DD93C774-82BE-4DBD-AB5E-BA44CCD0E829}" dt="2023-09-01T01:36:46.443" v="64367" actId="20577"/>
          <ac:spMkLst>
            <pc:docMk/>
            <pc:sldMk cId="3651499539" sldId="337"/>
            <ac:spMk id="5" creationId="{9727673B-8413-CCDC-BA64-7D07EAE62EA3}"/>
          </ac:spMkLst>
        </pc:spChg>
        <pc:spChg chg="del">
          <ac:chgData name="Lim, Sharon" userId="9ed40bdc-079d-4cee-a990-4411351f7f9c" providerId="ADAL" clId="{DD93C774-82BE-4DBD-AB5E-BA44CCD0E829}" dt="2023-09-01T01:47:10.988" v="64394" actId="478"/>
          <ac:spMkLst>
            <pc:docMk/>
            <pc:sldMk cId="3651499539" sldId="337"/>
            <ac:spMk id="6" creationId="{95F89051-279F-98F0-F3A3-E8717CF3EC24}"/>
          </ac:spMkLst>
        </pc:spChg>
        <pc:spChg chg="add del mod">
          <ac:chgData name="Lim, Sharon" userId="9ed40bdc-079d-4cee-a990-4411351f7f9c" providerId="ADAL" clId="{DD93C774-82BE-4DBD-AB5E-BA44CCD0E829}" dt="2023-09-01T01:47:28.212" v="64398" actId="478"/>
          <ac:spMkLst>
            <pc:docMk/>
            <pc:sldMk cId="3651499539" sldId="337"/>
            <ac:spMk id="7" creationId="{7B0BDAB7-40E3-2C48-CE07-4323FACBBA88}"/>
          </ac:spMkLst>
        </pc:spChg>
        <pc:spChg chg="add mod">
          <ac:chgData name="Lim, Sharon" userId="9ed40bdc-079d-4cee-a990-4411351f7f9c" providerId="ADAL" clId="{DD93C774-82BE-4DBD-AB5E-BA44CCD0E829}" dt="2023-09-01T01:52:53.774" v="64979" actId="20577"/>
          <ac:spMkLst>
            <pc:docMk/>
            <pc:sldMk cId="3651499539" sldId="337"/>
            <ac:spMk id="8" creationId="{1BAE2D63-2109-85AE-C91E-867FE365D11C}"/>
          </ac:spMkLst>
        </pc:spChg>
        <pc:spChg chg="add mod">
          <ac:chgData name="Lim, Sharon" userId="9ed40bdc-079d-4cee-a990-4411351f7f9c" providerId="ADAL" clId="{DD93C774-82BE-4DBD-AB5E-BA44CCD0E829}" dt="2023-09-01T01:53:31.387" v="65073" actId="20577"/>
          <ac:spMkLst>
            <pc:docMk/>
            <pc:sldMk cId="3651499539" sldId="337"/>
            <ac:spMk id="9" creationId="{6F7D9B9E-5B4A-23E4-83B2-6249E8303DE2}"/>
          </ac:spMkLst>
        </pc:spChg>
        <pc:spChg chg="add mod">
          <ac:chgData name="Lim, Sharon" userId="9ed40bdc-079d-4cee-a990-4411351f7f9c" providerId="ADAL" clId="{DD93C774-82BE-4DBD-AB5E-BA44CCD0E829}" dt="2023-09-01T02:12:12.402" v="66194" actId="1076"/>
          <ac:spMkLst>
            <pc:docMk/>
            <pc:sldMk cId="3651499539" sldId="337"/>
            <ac:spMk id="10" creationId="{7D490049-8D75-6229-1280-247A167621EE}"/>
          </ac:spMkLst>
        </pc:spChg>
        <pc:spChg chg="add mod">
          <ac:chgData name="Lim, Sharon" userId="9ed40bdc-079d-4cee-a990-4411351f7f9c" providerId="ADAL" clId="{DD93C774-82BE-4DBD-AB5E-BA44CCD0E829}" dt="2023-09-01T02:12:12.402" v="66194" actId="1076"/>
          <ac:spMkLst>
            <pc:docMk/>
            <pc:sldMk cId="3651499539" sldId="337"/>
            <ac:spMk id="11" creationId="{8B886554-7228-22B3-B047-A73476E0BFEC}"/>
          </ac:spMkLst>
        </pc:spChg>
        <pc:spChg chg="add mod">
          <ac:chgData name="Lim, Sharon" userId="9ed40bdc-079d-4cee-a990-4411351f7f9c" providerId="ADAL" clId="{DD93C774-82BE-4DBD-AB5E-BA44CCD0E829}" dt="2023-09-01T02:42:35.898" v="66375"/>
          <ac:spMkLst>
            <pc:docMk/>
            <pc:sldMk cId="3651499539" sldId="337"/>
            <ac:spMk id="14" creationId="{D7674C4A-ADC5-FA29-A57D-70252562B651}"/>
          </ac:spMkLst>
        </pc:spChg>
        <pc:picChg chg="add del mod modCrop">
          <ac:chgData name="Lim, Sharon" userId="9ed40bdc-079d-4cee-a990-4411351f7f9c" providerId="ADAL" clId="{DD93C774-82BE-4DBD-AB5E-BA44CCD0E829}" dt="2023-09-01T01:42:53.517" v="64374" actId="478"/>
          <ac:picMkLst>
            <pc:docMk/>
            <pc:sldMk cId="3651499539" sldId="337"/>
            <ac:picMk id="2" creationId="{59E734F7-B722-19BD-453E-6DE0957566C4}"/>
          </ac:picMkLst>
        </pc:picChg>
        <pc:picChg chg="add mod modCrop">
          <ac:chgData name="Lim, Sharon" userId="9ed40bdc-079d-4cee-a990-4411351f7f9c" providerId="ADAL" clId="{DD93C774-82BE-4DBD-AB5E-BA44CCD0E829}" dt="2023-09-01T01:54:34.726" v="65148" actId="1038"/>
          <ac:picMkLst>
            <pc:docMk/>
            <pc:sldMk cId="3651499539" sldId="337"/>
            <ac:picMk id="3" creationId="{6E2AE3E4-1E8B-C69F-7B23-2E342357B59C}"/>
          </ac:picMkLst>
        </pc:picChg>
      </pc:sldChg>
      <pc:sldChg chg="addSp delSp modSp mod ord">
        <pc:chgData name="Lim, Sharon" userId="9ed40bdc-079d-4cee-a990-4411351f7f9c" providerId="ADAL" clId="{DD93C774-82BE-4DBD-AB5E-BA44CCD0E829}" dt="2023-09-01T01:44:50.658" v="64388" actId="14100"/>
        <pc:sldMkLst>
          <pc:docMk/>
          <pc:sldMk cId="1455455363" sldId="339"/>
        </pc:sldMkLst>
        <pc:spChg chg="add del mod">
          <ac:chgData name="Lim, Sharon" userId="9ed40bdc-079d-4cee-a990-4411351f7f9c" providerId="ADAL" clId="{DD93C774-82BE-4DBD-AB5E-BA44CCD0E829}" dt="2023-09-01T01:44:29.053" v="64383" actId="478"/>
          <ac:spMkLst>
            <pc:docMk/>
            <pc:sldMk cId="1455455363" sldId="339"/>
            <ac:spMk id="6" creationId="{B04203AC-A9FE-FA35-9830-F5DC829EBB41}"/>
          </ac:spMkLst>
        </pc:spChg>
        <pc:picChg chg="del">
          <ac:chgData name="Lim, Sharon" userId="9ed40bdc-079d-4cee-a990-4411351f7f9c" providerId="ADAL" clId="{DD93C774-82BE-4DBD-AB5E-BA44CCD0E829}" dt="2023-09-01T01:44:26.734" v="64381" actId="478"/>
          <ac:picMkLst>
            <pc:docMk/>
            <pc:sldMk cId="1455455363" sldId="339"/>
            <ac:picMk id="4" creationId="{E0603D4A-2185-B210-8110-4B52198FFFD8}"/>
          </ac:picMkLst>
        </pc:picChg>
        <pc:picChg chg="add mod modCrop">
          <ac:chgData name="Lim, Sharon" userId="9ed40bdc-079d-4cee-a990-4411351f7f9c" providerId="ADAL" clId="{DD93C774-82BE-4DBD-AB5E-BA44CCD0E829}" dt="2023-09-01T01:44:50.658" v="64388" actId="14100"/>
          <ac:picMkLst>
            <pc:docMk/>
            <pc:sldMk cId="1455455363" sldId="339"/>
            <ac:picMk id="7" creationId="{405C9D72-9E91-85C8-5DD4-71B2D63E27F0}"/>
          </ac:picMkLst>
        </pc:picChg>
      </pc:sldChg>
      <pc:sldChg chg="addSp delSp modSp mod">
        <pc:chgData name="Lim, Sharon" userId="9ed40bdc-079d-4cee-a990-4411351f7f9c" providerId="ADAL" clId="{DD93C774-82BE-4DBD-AB5E-BA44CCD0E829}" dt="2023-09-01T02:42:33.801" v="66374"/>
        <pc:sldMkLst>
          <pc:docMk/>
          <pc:sldMk cId="3090779185" sldId="340"/>
        </pc:sldMkLst>
        <pc:spChg chg="add del mod">
          <ac:chgData name="Lim, Sharon" userId="9ed40bdc-079d-4cee-a990-4411351f7f9c" providerId="ADAL" clId="{DD93C774-82BE-4DBD-AB5E-BA44CCD0E829}" dt="2023-09-01T01:54:28.468" v="65135" actId="478"/>
          <ac:spMkLst>
            <pc:docMk/>
            <pc:sldMk cId="3090779185" sldId="340"/>
            <ac:spMk id="3" creationId="{7B8D892A-D26B-5DEC-7D87-5F208C0088D0}"/>
          </ac:spMkLst>
        </pc:spChg>
        <pc:spChg chg="del mod">
          <ac:chgData name="Lim, Sharon" userId="9ed40bdc-079d-4cee-a990-4411351f7f9c" providerId="ADAL" clId="{DD93C774-82BE-4DBD-AB5E-BA44CCD0E829}" dt="2023-09-01T01:54:10.426" v="65130" actId="21"/>
          <ac:spMkLst>
            <pc:docMk/>
            <pc:sldMk cId="3090779185" sldId="340"/>
            <ac:spMk id="6" creationId="{95F89051-279F-98F0-F3A3-E8717CF3EC24}"/>
          </ac:spMkLst>
        </pc:spChg>
        <pc:spChg chg="del">
          <ac:chgData name="Lim, Sharon" userId="9ed40bdc-079d-4cee-a990-4411351f7f9c" providerId="ADAL" clId="{DD93C774-82BE-4DBD-AB5E-BA44CCD0E829}" dt="2023-09-01T01:57:12.088" v="65604" actId="478"/>
          <ac:spMkLst>
            <pc:docMk/>
            <pc:sldMk cId="3090779185" sldId="340"/>
            <ac:spMk id="8" creationId="{D1B49594-71CB-873B-E076-0A5E0B86F5C0}"/>
          </ac:spMkLst>
        </pc:spChg>
        <pc:spChg chg="add mod">
          <ac:chgData name="Lim, Sharon" userId="9ed40bdc-079d-4cee-a990-4411351f7f9c" providerId="ADAL" clId="{DD93C774-82BE-4DBD-AB5E-BA44CCD0E829}" dt="2023-09-01T01:57:26.775" v="65659" actId="20577"/>
          <ac:spMkLst>
            <pc:docMk/>
            <pc:sldMk cId="3090779185" sldId="340"/>
            <ac:spMk id="9" creationId="{5B220DEA-7B61-4C66-8DA4-805B682E61A2}"/>
          </ac:spMkLst>
        </pc:spChg>
        <pc:spChg chg="add mod">
          <ac:chgData name="Lim, Sharon" userId="9ed40bdc-079d-4cee-a990-4411351f7f9c" providerId="ADAL" clId="{DD93C774-82BE-4DBD-AB5E-BA44CCD0E829}" dt="2023-09-01T01:57:08.551" v="65603" actId="20577"/>
          <ac:spMkLst>
            <pc:docMk/>
            <pc:sldMk cId="3090779185" sldId="340"/>
            <ac:spMk id="10" creationId="{639B89CE-120E-D75A-2D5F-9AA1A69B7D79}"/>
          </ac:spMkLst>
        </pc:spChg>
        <pc:spChg chg="add mod">
          <ac:chgData name="Lim, Sharon" userId="9ed40bdc-079d-4cee-a990-4411351f7f9c" providerId="ADAL" clId="{DD93C774-82BE-4DBD-AB5E-BA44CCD0E829}" dt="2023-09-01T02:42:33.801" v="66374"/>
          <ac:spMkLst>
            <pc:docMk/>
            <pc:sldMk cId="3090779185" sldId="340"/>
            <ac:spMk id="11" creationId="{806001B8-80C2-DACC-3955-74939397E122}"/>
          </ac:spMkLst>
        </pc:spChg>
        <pc:picChg chg="mod">
          <ac:chgData name="Lim, Sharon" userId="9ed40bdc-079d-4cee-a990-4411351f7f9c" providerId="ADAL" clId="{DD93C774-82BE-4DBD-AB5E-BA44CCD0E829}" dt="2023-09-01T01:54:24.092" v="65134" actId="14100"/>
          <ac:picMkLst>
            <pc:docMk/>
            <pc:sldMk cId="3090779185" sldId="340"/>
            <ac:picMk id="7" creationId="{D386789E-8295-D657-C7AD-9369839C9312}"/>
          </ac:picMkLst>
        </pc:picChg>
      </pc:sldChg>
      <pc:sldChg chg="del">
        <pc:chgData name="Lim, Sharon" userId="9ed40bdc-079d-4cee-a990-4411351f7f9c" providerId="ADAL" clId="{DD93C774-82BE-4DBD-AB5E-BA44CCD0E829}" dt="2023-09-01T01:46:53.625" v="64390" actId="47"/>
        <pc:sldMkLst>
          <pc:docMk/>
          <pc:sldMk cId="764394294" sldId="341"/>
        </pc:sldMkLst>
      </pc:sldChg>
      <pc:sldChg chg="addSp modSp mod ord modNotesTx">
        <pc:chgData name="Lim, Sharon" userId="9ed40bdc-079d-4cee-a990-4411351f7f9c" providerId="ADAL" clId="{DD93C774-82BE-4DBD-AB5E-BA44CCD0E829}" dt="2023-09-01T04:26:16.712" v="67519"/>
        <pc:sldMkLst>
          <pc:docMk/>
          <pc:sldMk cId="3877301196" sldId="342"/>
        </pc:sldMkLst>
        <pc:spChg chg="add mod">
          <ac:chgData name="Lim, Sharon" userId="9ed40bdc-079d-4cee-a990-4411351f7f9c" providerId="ADAL" clId="{DD93C774-82BE-4DBD-AB5E-BA44CCD0E829}" dt="2023-09-01T02:10:47.135" v="65926" actId="1076"/>
          <ac:spMkLst>
            <pc:docMk/>
            <pc:sldMk cId="3877301196" sldId="342"/>
            <ac:spMk id="3" creationId="{29A66A0F-D835-598C-25CA-043E00904710}"/>
          </ac:spMkLst>
        </pc:spChg>
        <pc:spChg chg="mod">
          <ac:chgData name="Lim, Sharon" userId="9ed40bdc-079d-4cee-a990-4411351f7f9c" providerId="ADAL" clId="{DD93C774-82BE-4DBD-AB5E-BA44CCD0E829}" dt="2023-09-01T02:10:55.258" v="65935" actId="20577"/>
          <ac:spMkLst>
            <pc:docMk/>
            <pc:sldMk cId="3877301196" sldId="342"/>
            <ac:spMk id="5" creationId="{9727673B-8413-CCDC-BA64-7D07EAE62EA3}"/>
          </ac:spMkLst>
        </pc:spChg>
        <pc:spChg chg="add mod">
          <ac:chgData name="Lim, Sharon" userId="9ed40bdc-079d-4cee-a990-4411351f7f9c" providerId="ADAL" clId="{DD93C774-82BE-4DBD-AB5E-BA44CCD0E829}" dt="2023-09-01T02:10:47.135" v="65926" actId="1076"/>
          <ac:spMkLst>
            <pc:docMk/>
            <pc:sldMk cId="3877301196" sldId="342"/>
            <ac:spMk id="6" creationId="{E39E7E6C-812E-3508-E647-0E81631B5B9D}"/>
          </ac:spMkLst>
        </pc:spChg>
        <pc:spChg chg="add mod">
          <ac:chgData name="Lim, Sharon" userId="9ed40bdc-079d-4cee-a990-4411351f7f9c" providerId="ADAL" clId="{DD93C774-82BE-4DBD-AB5E-BA44CCD0E829}" dt="2023-09-01T02:10:47.135" v="65926" actId="1076"/>
          <ac:spMkLst>
            <pc:docMk/>
            <pc:sldMk cId="3877301196" sldId="342"/>
            <ac:spMk id="7" creationId="{9B00AF1A-A8E0-9DC4-8223-59C603AE606F}"/>
          </ac:spMkLst>
        </pc:spChg>
        <pc:spChg chg="add mod">
          <ac:chgData name="Lim, Sharon" userId="9ed40bdc-079d-4cee-a990-4411351f7f9c" providerId="ADAL" clId="{DD93C774-82BE-4DBD-AB5E-BA44CCD0E829}" dt="2023-09-01T02:44:52.106" v="66394" actId="20577"/>
          <ac:spMkLst>
            <pc:docMk/>
            <pc:sldMk cId="3877301196" sldId="342"/>
            <ac:spMk id="8" creationId="{8220F388-ECB3-B051-ABA9-16237165064A}"/>
          </ac:spMkLst>
        </pc:spChg>
        <pc:spChg chg="add mod">
          <ac:chgData name="Lim, Sharon" userId="9ed40bdc-079d-4cee-a990-4411351f7f9c" providerId="ADAL" clId="{DD93C774-82BE-4DBD-AB5E-BA44CCD0E829}" dt="2023-09-01T04:05:46.785" v="67492" actId="20577"/>
          <ac:spMkLst>
            <pc:docMk/>
            <pc:sldMk cId="3877301196" sldId="342"/>
            <ac:spMk id="9" creationId="{BCC573A9-7409-8A58-4B6B-372E227E4226}"/>
          </ac:spMkLst>
        </pc:spChg>
        <pc:spChg chg="add mod">
          <ac:chgData name="Lim, Sharon" userId="9ed40bdc-079d-4cee-a990-4411351f7f9c" providerId="ADAL" clId="{DD93C774-82BE-4DBD-AB5E-BA44CCD0E829}" dt="2023-09-01T02:41:21.462" v="66359" actId="20577"/>
          <ac:spMkLst>
            <pc:docMk/>
            <pc:sldMk cId="3877301196" sldId="342"/>
            <ac:spMk id="10" creationId="{EDA925D1-94E7-21C4-A564-1356E44FF74D}"/>
          </ac:spMkLst>
        </pc:spChg>
        <pc:picChg chg="mod modCrop">
          <ac:chgData name="Lim, Sharon" userId="9ed40bdc-079d-4cee-a990-4411351f7f9c" providerId="ADAL" clId="{DD93C774-82BE-4DBD-AB5E-BA44CCD0E829}" dt="2023-09-01T02:09:51.724" v="65915" actId="732"/>
          <ac:picMkLst>
            <pc:docMk/>
            <pc:sldMk cId="3877301196" sldId="342"/>
            <ac:picMk id="2" creationId="{347ED320-D52D-3C94-67D1-E28841100B35}"/>
          </ac:picMkLst>
        </pc:picChg>
      </pc:sldChg>
      <pc:sldChg chg="addSp delSp modSp mod ord modTransition modShow">
        <pc:chgData name="Lim, Sharon" userId="9ed40bdc-079d-4cee-a990-4411351f7f9c" providerId="ADAL" clId="{DD93C774-82BE-4DBD-AB5E-BA44CCD0E829}" dt="2023-09-01T02:05:43.028" v="65721"/>
        <pc:sldMkLst>
          <pc:docMk/>
          <pc:sldMk cId="4050671445" sldId="343"/>
        </pc:sldMkLst>
        <pc:spChg chg="add del mod">
          <ac:chgData name="Lim, Sharon" userId="9ed40bdc-079d-4cee-a990-4411351f7f9c" providerId="ADAL" clId="{DD93C774-82BE-4DBD-AB5E-BA44CCD0E829}" dt="2023-09-01T01:59:41.658" v="65713"/>
          <ac:spMkLst>
            <pc:docMk/>
            <pc:sldMk cId="4050671445" sldId="343"/>
            <ac:spMk id="6" creationId="{328945C1-5DA3-0FEA-2CDC-A76C69803B51}"/>
          </ac:spMkLst>
        </pc:spChg>
        <pc:spChg chg="add mod">
          <ac:chgData name="Lim, Sharon" userId="9ed40bdc-079d-4cee-a990-4411351f7f9c" providerId="ADAL" clId="{DD93C774-82BE-4DBD-AB5E-BA44CCD0E829}" dt="2023-09-01T01:59:53.249" v="65715" actId="20577"/>
          <ac:spMkLst>
            <pc:docMk/>
            <pc:sldMk cId="4050671445" sldId="343"/>
            <ac:spMk id="7" creationId="{1298E090-C9AF-DAA1-415F-5FE6C9F5A2B8}"/>
          </ac:spMkLst>
        </pc:spChg>
        <pc:picChg chg="mod">
          <ac:chgData name="Lim, Sharon" userId="9ed40bdc-079d-4cee-a990-4411351f7f9c" providerId="ADAL" clId="{DD93C774-82BE-4DBD-AB5E-BA44CCD0E829}" dt="2023-09-01T01:59:33.212" v="65711" actId="1076"/>
          <ac:picMkLst>
            <pc:docMk/>
            <pc:sldMk cId="4050671445" sldId="343"/>
            <ac:picMk id="2" creationId="{18EA1CEB-8F93-1EE1-BF3C-3F4EF02E9A1E}"/>
          </ac:picMkLst>
        </pc:picChg>
      </pc:sldChg>
      <pc:sldChg chg="del">
        <pc:chgData name="Lim, Sharon" userId="9ed40bdc-079d-4cee-a990-4411351f7f9c" providerId="ADAL" clId="{DD93C774-82BE-4DBD-AB5E-BA44CCD0E829}" dt="2023-09-01T02:03:25.769" v="65717" actId="47"/>
        <pc:sldMkLst>
          <pc:docMk/>
          <pc:sldMk cId="2327032015" sldId="344"/>
        </pc:sldMkLst>
      </pc:sldChg>
      <pc:sldChg chg="addSp delSp modSp mod">
        <pc:chgData name="Lim, Sharon" userId="9ed40bdc-079d-4cee-a990-4411351f7f9c" providerId="ADAL" clId="{DD93C774-82BE-4DBD-AB5E-BA44CCD0E829}" dt="2023-09-01T03:54:36.368" v="67364" actId="20577"/>
        <pc:sldMkLst>
          <pc:docMk/>
          <pc:sldMk cId="845889813" sldId="345"/>
        </pc:sldMkLst>
        <pc:spChg chg="del">
          <ac:chgData name="Lim, Sharon" userId="9ed40bdc-079d-4cee-a990-4411351f7f9c" providerId="ADAL" clId="{DD93C774-82BE-4DBD-AB5E-BA44CCD0E829}" dt="2023-09-01T02:11:13.283" v="65941" actId="478"/>
          <ac:spMkLst>
            <pc:docMk/>
            <pc:sldMk cId="845889813" sldId="345"/>
            <ac:spMk id="6" creationId="{95F89051-279F-98F0-F3A3-E8717CF3EC24}"/>
          </ac:spMkLst>
        </pc:spChg>
        <pc:spChg chg="del">
          <ac:chgData name="Lim, Sharon" userId="9ed40bdc-079d-4cee-a990-4411351f7f9c" providerId="ADAL" clId="{DD93C774-82BE-4DBD-AB5E-BA44CCD0E829}" dt="2023-09-01T03:26:37.292" v="66815" actId="478"/>
          <ac:spMkLst>
            <pc:docMk/>
            <pc:sldMk cId="845889813" sldId="345"/>
            <ac:spMk id="15" creationId="{88775B6C-9C34-4020-DD10-7CF9644BBE20}"/>
          </ac:spMkLst>
        </pc:spChg>
        <pc:spChg chg="add mod">
          <ac:chgData name="Lim, Sharon" userId="9ed40bdc-079d-4cee-a990-4411351f7f9c" providerId="ADAL" clId="{DD93C774-82BE-4DBD-AB5E-BA44CCD0E829}" dt="2023-09-01T03:54:36.368" v="67364" actId="20577"/>
          <ac:spMkLst>
            <pc:docMk/>
            <pc:sldMk cId="845889813" sldId="345"/>
            <ac:spMk id="16" creationId="{C22F8919-1E2D-3B39-45AE-01294F027C68}"/>
          </ac:spMkLst>
        </pc:spChg>
        <pc:picChg chg="mod">
          <ac:chgData name="Lim, Sharon" userId="9ed40bdc-079d-4cee-a990-4411351f7f9c" providerId="ADAL" clId="{DD93C774-82BE-4DBD-AB5E-BA44CCD0E829}" dt="2023-09-01T03:26:41.004" v="66816" actId="1076"/>
          <ac:picMkLst>
            <pc:docMk/>
            <pc:sldMk cId="845889813" sldId="345"/>
            <ac:picMk id="8" creationId="{F412E917-C871-B19C-E7DA-AF15E97DF501}"/>
          </ac:picMkLst>
        </pc:picChg>
        <pc:picChg chg="mod">
          <ac:chgData name="Lim, Sharon" userId="9ed40bdc-079d-4cee-a990-4411351f7f9c" providerId="ADAL" clId="{DD93C774-82BE-4DBD-AB5E-BA44CCD0E829}" dt="2023-09-01T03:26:43.525" v="66817" actId="1076"/>
          <ac:picMkLst>
            <pc:docMk/>
            <pc:sldMk cId="845889813" sldId="345"/>
            <ac:picMk id="11" creationId="{8D5DBD94-ECCA-632F-038C-198641869AF3}"/>
          </ac:picMkLst>
        </pc:picChg>
        <pc:picChg chg="mod">
          <ac:chgData name="Lim, Sharon" userId="9ed40bdc-079d-4cee-a990-4411351f7f9c" providerId="ADAL" clId="{DD93C774-82BE-4DBD-AB5E-BA44CCD0E829}" dt="2023-09-01T02:06:36.475" v="65728" actId="14100"/>
          <ac:picMkLst>
            <pc:docMk/>
            <pc:sldMk cId="845889813" sldId="345"/>
            <ac:picMk id="13" creationId="{C434D70A-071B-48B5-9CBD-848AFF083B49}"/>
          </ac:picMkLst>
        </pc:picChg>
        <pc:picChg chg="mod">
          <ac:chgData name="Lim, Sharon" userId="9ed40bdc-079d-4cee-a990-4411351f7f9c" providerId="ADAL" clId="{DD93C774-82BE-4DBD-AB5E-BA44CCD0E829}" dt="2023-09-01T03:26:53.216" v="66819" actId="14100"/>
          <ac:picMkLst>
            <pc:docMk/>
            <pc:sldMk cId="845889813" sldId="345"/>
            <ac:picMk id="14" creationId="{C8406CD0-157C-224C-7483-C62FB53DDC11}"/>
          </ac:picMkLst>
        </pc:picChg>
      </pc:sldChg>
      <pc:sldChg chg="del">
        <pc:chgData name="Lim, Sharon" userId="9ed40bdc-079d-4cee-a990-4411351f7f9c" providerId="ADAL" clId="{DD93C774-82BE-4DBD-AB5E-BA44CCD0E829}" dt="2023-09-01T02:00:36.737" v="65716" actId="47"/>
        <pc:sldMkLst>
          <pc:docMk/>
          <pc:sldMk cId="702575340" sldId="346"/>
        </pc:sldMkLst>
      </pc:sldChg>
      <pc:sldChg chg="add del ord">
        <pc:chgData name="Lim, Sharon" userId="9ed40bdc-079d-4cee-a990-4411351f7f9c" providerId="ADAL" clId="{DD93C774-82BE-4DBD-AB5E-BA44CCD0E829}" dt="2023-09-01T02:36:07.387" v="66321" actId="2696"/>
        <pc:sldMkLst>
          <pc:docMk/>
          <pc:sldMk cId="1292320613" sldId="346"/>
        </pc:sldMkLst>
      </pc:sldChg>
      <pc:sldChg chg="add">
        <pc:chgData name="Lim, Sharon" userId="9ed40bdc-079d-4cee-a990-4411351f7f9c" providerId="ADAL" clId="{DD93C774-82BE-4DBD-AB5E-BA44CCD0E829}" dt="2023-09-01T02:36:10.086" v="66322"/>
        <pc:sldMkLst>
          <pc:docMk/>
          <pc:sldMk cId="2094388387" sldId="346"/>
        </pc:sldMkLst>
      </pc:sldChg>
      <pc:sldChg chg="del">
        <pc:chgData name="Lim, Sharon" userId="9ed40bdc-079d-4cee-a990-4411351f7f9c" providerId="ADAL" clId="{DD93C774-82BE-4DBD-AB5E-BA44CCD0E829}" dt="2023-09-01T02:31:52.263" v="66311" actId="2696"/>
        <pc:sldMkLst>
          <pc:docMk/>
          <pc:sldMk cId="2488955592" sldId="346"/>
        </pc:sldMkLst>
      </pc:sldChg>
      <pc:sldChg chg="addSp modSp mod">
        <pc:chgData name="Lim, Sharon" userId="9ed40bdc-079d-4cee-a990-4411351f7f9c" providerId="ADAL" clId="{DD93C774-82BE-4DBD-AB5E-BA44CCD0E829}" dt="2023-09-01T03:30:50.210" v="66981" actId="20577"/>
        <pc:sldMkLst>
          <pc:docMk/>
          <pc:sldMk cId="2319001904" sldId="347"/>
        </pc:sldMkLst>
        <pc:spChg chg="add mod">
          <ac:chgData name="Lim, Sharon" userId="9ed40bdc-079d-4cee-a990-4411351f7f9c" providerId="ADAL" clId="{DD93C774-82BE-4DBD-AB5E-BA44CCD0E829}" dt="2023-09-01T03:30:50.210" v="66981" actId="20577"/>
          <ac:spMkLst>
            <pc:docMk/>
            <pc:sldMk cId="2319001904" sldId="347"/>
            <ac:spMk id="2" creationId="{462C2485-91C1-E299-9F2F-91D29813B211}"/>
          </ac:spMkLst>
        </pc:spChg>
      </pc:sldChg>
      <pc:sldChg chg="add del">
        <pc:chgData name="Lim, Sharon" userId="9ed40bdc-079d-4cee-a990-4411351f7f9c" providerId="ADAL" clId="{DD93C774-82BE-4DBD-AB5E-BA44CCD0E829}" dt="2023-09-01T03:09:24.481" v="66448" actId="47"/>
        <pc:sldMkLst>
          <pc:docMk/>
          <pc:sldMk cId="264846653" sldId="348"/>
        </pc:sldMkLst>
      </pc:sldChg>
      <pc:sldMasterChg chg="modSldLayout">
        <pc:chgData name="Lim, Sharon" userId="9ed40bdc-079d-4cee-a990-4411351f7f9c" providerId="ADAL" clId="{DD93C774-82BE-4DBD-AB5E-BA44CCD0E829}" dt="2023-08-31T08:49:20.152" v="9348"/>
        <pc:sldMasterMkLst>
          <pc:docMk/>
          <pc:sldMasterMk cId="1663897770" sldId="2147483648"/>
        </pc:sldMasterMkLst>
        <pc:sldLayoutChg chg="addSp delSp modSp mod">
          <pc:chgData name="Lim, Sharon" userId="9ed40bdc-079d-4cee-a990-4411351f7f9c" providerId="ADAL" clId="{DD93C774-82BE-4DBD-AB5E-BA44CCD0E829}" dt="2023-08-31T07:54:06.625" v="6673"/>
          <pc:sldLayoutMkLst>
            <pc:docMk/>
            <pc:sldMasterMk cId="1663897770" sldId="2147483648"/>
            <pc:sldLayoutMk cId="3398104551" sldId="2147483649"/>
          </pc:sldLayoutMkLst>
          <pc:spChg chg="del">
            <ac:chgData name="Lim, Sharon" userId="9ed40bdc-079d-4cee-a990-4411351f7f9c" providerId="ADAL" clId="{DD93C774-82BE-4DBD-AB5E-BA44CCD0E829}" dt="2023-08-31T07:50:39.579" v="6598" actId="478"/>
            <ac:spMkLst>
              <pc:docMk/>
              <pc:sldMasterMk cId="1663897770" sldId="2147483648"/>
              <pc:sldLayoutMk cId="3398104551" sldId="2147483649"/>
              <ac:spMk id="2" creationId="{F30FD8D4-FEEA-9D26-8B56-CE1D3961F2AF}"/>
            </ac:spMkLst>
          </pc:spChg>
          <pc:spChg chg="del">
            <ac:chgData name="Lim, Sharon" userId="9ed40bdc-079d-4cee-a990-4411351f7f9c" providerId="ADAL" clId="{DD93C774-82BE-4DBD-AB5E-BA44CCD0E829}" dt="2023-08-31T07:50:40.739" v="6616" actId="478"/>
            <ac:spMkLst>
              <pc:docMk/>
              <pc:sldMasterMk cId="1663897770" sldId="2147483648"/>
              <pc:sldLayoutMk cId="3398104551" sldId="2147483649"/>
              <ac:spMk id="3" creationId="{A4243803-07F6-E975-6F37-0CDE2002F86D}"/>
            </ac:spMkLst>
          </pc:spChg>
          <pc:spChg chg="add mod">
            <ac:chgData name="Lim, Sharon" userId="9ed40bdc-079d-4cee-a990-4411351f7f9c" providerId="ADAL" clId="{DD93C774-82BE-4DBD-AB5E-BA44CCD0E829}" dt="2023-08-31T07:53:06.434" v="6664" actId="1076"/>
            <ac:spMkLst>
              <pc:docMk/>
              <pc:sldMasterMk cId="1663897770" sldId="2147483648"/>
              <pc:sldLayoutMk cId="3398104551" sldId="2147483649"/>
              <ac:spMk id="11" creationId="{AADD46B4-9C61-2BD8-4426-732BF4C234BF}"/>
            </ac:spMkLst>
          </pc:spChg>
          <pc:graphicFrameChg chg="add mod ord modVis replST">
            <ac:chgData name="Lim, Sharon" userId="9ed40bdc-079d-4cee-a990-4411351f7f9c" providerId="ADAL" clId="{DD93C774-82BE-4DBD-AB5E-BA44CCD0E829}" dt="2023-08-31T07:50:40.126" v="6615"/>
            <ac:graphicFrameMkLst>
              <pc:docMk/>
              <pc:sldMasterMk cId="1663897770" sldId="2147483648"/>
              <pc:sldLayoutMk cId="3398104551" sldId="2147483649"/>
              <ac:graphicFrameMk id="7" creationId="{F1FA60C3-44E5-69E2-628E-C8D4D48F8F4C}"/>
            </ac:graphicFrameMkLst>
          </pc:graphicFrameChg>
          <pc:picChg chg="add mod">
            <ac:chgData name="Lim, Sharon" userId="9ed40bdc-079d-4cee-a990-4411351f7f9c" providerId="ADAL" clId="{DD93C774-82BE-4DBD-AB5E-BA44CCD0E829}" dt="2023-08-31T07:54:06.625" v="6673"/>
            <ac:picMkLst>
              <pc:docMk/>
              <pc:sldMasterMk cId="1663897770" sldId="2147483648"/>
              <pc:sldLayoutMk cId="3398104551" sldId="2147483649"/>
              <ac:picMk id="8" creationId="{A488AACA-A1B1-5F87-58B5-29993D45AB5B}"/>
            </ac:picMkLst>
          </pc:picChg>
          <pc:picChg chg="add del mod">
            <ac:chgData name="Lim, Sharon" userId="9ed40bdc-079d-4cee-a990-4411351f7f9c" providerId="ADAL" clId="{DD93C774-82BE-4DBD-AB5E-BA44CCD0E829}" dt="2023-08-31T07:52:10.612" v="6628" actId="478"/>
            <ac:picMkLst>
              <pc:docMk/>
              <pc:sldMasterMk cId="1663897770" sldId="2147483648"/>
              <pc:sldLayoutMk cId="3398104551" sldId="2147483649"/>
              <ac:picMk id="9" creationId="{46614257-4086-A435-16A4-B2F40198CA6A}"/>
            </ac:picMkLst>
          </pc:picChg>
          <pc:picChg chg="add mod modCrop">
            <ac:chgData name="Lim, Sharon" userId="9ed40bdc-079d-4cee-a990-4411351f7f9c" providerId="ADAL" clId="{DD93C774-82BE-4DBD-AB5E-BA44CCD0E829}" dt="2023-08-31T07:53:08.981" v="6665" actId="1076"/>
            <ac:picMkLst>
              <pc:docMk/>
              <pc:sldMasterMk cId="1663897770" sldId="2147483648"/>
              <pc:sldLayoutMk cId="3398104551" sldId="2147483649"/>
              <ac:picMk id="10" creationId="{C5CE64A2-183A-9DB2-A646-C1E2EC043EBC}"/>
            </ac:picMkLst>
          </pc:picChg>
        </pc:sldLayoutChg>
        <pc:sldLayoutChg chg="addSp modSp mod">
          <pc:chgData name="Lim, Sharon" userId="9ed40bdc-079d-4cee-a990-4411351f7f9c" providerId="ADAL" clId="{DD93C774-82BE-4DBD-AB5E-BA44CCD0E829}" dt="2023-08-31T07:58:06.245" v="6965" actId="1035"/>
          <pc:sldLayoutMkLst>
            <pc:docMk/>
            <pc:sldMasterMk cId="1663897770" sldId="2147483648"/>
            <pc:sldLayoutMk cId="971465428" sldId="2147483650"/>
          </pc:sldLayoutMkLst>
          <pc:spChg chg="add mod">
            <ac:chgData name="Lim, Sharon" userId="9ed40bdc-079d-4cee-a990-4411351f7f9c" providerId="ADAL" clId="{DD93C774-82BE-4DBD-AB5E-BA44CCD0E829}" dt="2023-08-31T07:58:06.245" v="6965" actId="1035"/>
            <ac:spMkLst>
              <pc:docMk/>
              <pc:sldMasterMk cId="1663897770" sldId="2147483648"/>
              <pc:sldLayoutMk cId="971465428" sldId="2147483650"/>
              <ac:spMk id="8" creationId="{42987704-09BB-506F-C6F4-4934EF5348B6}"/>
            </ac:spMkLst>
          </pc:spChg>
          <pc:picChg chg="add mod">
            <ac:chgData name="Lim, Sharon" userId="9ed40bdc-079d-4cee-a990-4411351f7f9c" providerId="ADAL" clId="{DD93C774-82BE-4DBD-AB5E-BA44CCD0E829}" dt="2023-08-31T07:58:06.245" v="6965" actId="1035"/>
            <ac:picMkLst>
              <pc:docMk/>
              <pc:sldMasterMk cId="1663897770" sldId="2147483648"/>
              <pc:sldLayoutMk cId="971465428" sldId="2147483650"/>
              <ac:picMk id="7" creationId="{5AA74659-BEAF-CD7C-4819-BC0673853F5E}"/>
            </ac:picMkLst>
          </pc:picChg>
        </pc:sldLayoutChg>
        <pc:sldLayoutChg chg="addSp delSp modSp mod">
          <pc:chgData name="Lim, Sharon" userId="9ed40bdc-079d-4cee-a990-4411351f7f9c" providerId="ADAL" clId="{DD93C774-82BE-4DBD-AB5E-BA44CCD0E829}" dt="2023-08-31T08:49:20.152" v="9348"/>
          <pc:sldLayoutMkLst>
            <pc:docMk/>
            <pc:sldMasterMk cId="1663897770" sldId="2147483648"/>
            <pc:sldLayoutMk cId="351878093" sldId="2147483657"/>
          </pc:sldLayoutMkLst>
          <pc:spChg chg="del">
            <ac:chgData name="Lim, Sharon" userId="9ed40bdc-079d-4cee-a990-4411351f7f9c" providerId="ADAL" clId="{DD93C774-82BE-4DBD-AB5E-BA44CCD0E829}" dt="2023-08-31T08:46:34.237" v="9261" actId="478"/>
            <ac:spMkLst>
              <pc:docMk/>
              <pc:sldMasterMk cId="1663897770" sldId="2147483648"/>
              <pc:sldLayoutMk cId="351878093" sldId="2147483657"/>
              <ac:spMk id="2" creationId="{E4C29E30-8DCE-D6CC-BEAC-0C8449FB24C9}"/>
            </ac:spMkLst>
          </pc:spChg>
          <pc:spChg chg="del">
            <ac:chgData name="Lim, Sharon" userId="9ed40bdc-079d-4cee-a990-4411351f7f9c" providerId="ADAL" clId="{DD93C774-82BE-4DBD-AB5E-BA44CCD0E829}" dt="2023-08-31T08:46:35.361" v="9279" actId="478"/>
            <ac:spMkLst>
              <pc:docMk/>
              <pc:sldMasterMk cId="1663897770" sldId="2147483648"/>
              <pc:sldLayoutMk cId="351878093" sldId="2147483657"/>
              <ac:spMk id="3" creationId="{4360544F-F12B-C01D-31FE-03D663B04198}"/>
            </ac:spMkLst>
          </pc:spChg>
          <pc:spChg chg="del">
            <ac:chgData name="Lim, Sharon" userId="9ed40bdc-079d-4cee-a990-4411351f7f9c" providerId="ADAL" clId="{DD93C774-82BE-4DBD-AB5E-BA44CCD0E829}" dt="2023-08-31T08:46:36.190" v="9280" actId="478"/>
            <ac:spMkLst>
              <pc:docMk/>
              <pc:sldMasterMk cId="1663897770" sldId="2147483648"/>
              <pc:sldLayoutMk cId="351878093" sldId="2147483657"/>
              <ac:spMk id="4" creationId="{D6EA3219-B15D-E25D-5136-C2D3E989A999}"/>
            </ac:spMkLst>
          </pc:spChg>
          <pc:spChg chg="add mod">
            <ac:chgData name="Lim, Sharon" userId="9ed40bdc-079d-4cee-a990-4411351f7f9c" providerId="ADAL" clId="{DD93C774-82BE-4DBD-AB5E-BA44CCD0E829}" dt="2023-08-31T08:49:20.152" v="9348"/>
            <ac:spMkLst>
              <pc:docMk/>
              <pc:sldMasterMk cId="1663897770" sldId="2147483648"/>
              <pc:sldLayoutMk cId="351878093" sldId="2147483657"/>
              <ac:spMk id="12" creationId="{D8988609-786C-184A-CDD2-C6A53E256789}"/>
            </ac:spMkLst>
          </pc:spChg>
          <pc:graphicFrameChg chg="add mod ord modVis replST">
            <ac:chgData name="Lim, Sharon" userId="9ed40bdc-079d-4cee-a990-4411351f7f9c" providerId="ADAL" clId="{DD93C774-82BE-4DBD-AB5E-BA44CCD0E829}" dt="2023-08-31T08:46:34.932" v="9278"/>
            <ac:graphicFrameMkLst>
              <pc:docMk/>
              <pc:sldMasterMk cId="1663897770" sldId="2147483648"/>
              <pc:sldLayoutMk cId="351878093" sldId="2147483657"/>
              <ac:graphicFrameMk id="8" creationId="{3751A9BD-9542-B92F-5423-12119D7B1A88}"/>
            </ac:graphicFrameMkLst>
          </pc:graphicFrameChg>
          <pc:picChg chg="add mod">
            <ac:chgData name="Lim, Sharon" userId="9ed40bdc-079d-4cee-a990-4411351f7f9c" providerId="ADAL" clId="{DD93C774-82BE-4DBD-AB5E-BA44CCD0E829}" dt="2023-08-31T08:48:34.736" v="9342" actId="14100"/>
            <ac:picMkLst>
              <pc:docMk/>
              <pc:sldMasterMk cId="1663897770" sldId="2147483648"/>
              <pc:sldLayoutMk cId="351878093" sldId="2147483657"/>
              <ac:picMk id="10" creationId="{05B10127-849B-1B6C-77FA-BDE1A6CE4F1F}"/>
            </ac:picMkLst>
          </pc:picChg>
          <pc:picChg chg="add mod">
            <ac:chgData name="Lim, Sharon" userId="9ed40bdc-079d-4cee-a990-4411351f7f9c" providerId="ADAL" clId="{DD93C774-82BE-4DBD-AB5E-BA44CCD0E829}" dt="2023-08-31T08:49:20.152" v="9348"/>
            <ac:picMkLst>
              <pc:docMk/>
              <pc:sldMasterMk cId="1663897770" sldId="2147483648"/>
              <pc:sldLayoutMk cId="351878093" sldId="2147483657"/>
              <ac:picMk id="11" creationId="{50CF9AF9-CFB9-F629-1F5C-76A0522EDA6E}"/>
            </ac:picMkLst>
          </pc:picChg>
        </pc:sldLayoutChg>
      </pc:sldMasterChg>
      <pc:sldMasterChg chg="addSp delSp modSp mod">
        <pc:chgData name="Lim, Sharon" userId="9ed40bdc-079d-4cee-a990-4411351f7f9c" providerId="ADAL" clId="{DD93C774-82BE-4DBD-AB5E-BA44CCD0E829}" dt="2023-08-31T06:57:27.442" v="6458"/>
        <pc:sldMasterMkLst>
          <pc:docMk/>
          <pc:sldMasterMk cId="1255613337" sldId="2147483775"/>
        </pc:sldMasterMkLst>
        <pc:spChg chg="mod">
          <ac:chgData name="Lim, Sharon" userId="9ed40bdc-079d-4cee-a990-4411351f7f9c" providerId="ADAL" clId="{DD93C774-82BE-4DBD-AB5E-BA44CCD0E829}" dt="2023-08-31T06:57:27.364" v="6419" actId="948"/>
          <ac:spMkLst>
            <pc:docMk/>
            <pc:sldMasterMk cId="1255613337" sldId="2147483775"/>
            <ac:spMk id="2" creationId="{475BFB69-9245-EC58-F1DE-FEB625BD336A}"/>
          </ac:spMkLst>
        </pc:spChg>
        <pc:spChg chg="add del mod modVis">
          <ac:chgData name="Lim, Sharon" userId="9ed40bdc-079d-4cee-a990-4411351f7f9c" providerId="ADAL" clId="{DD93C774-82BE-4DBD-AB5E-BA44CCD0E829}" dt="2023-08-31T06:57:27.402" v="6443"/>
          <ac:spMkLst>
            <pc:docMk/>
            <pc:sldMasterMk cId="1255613337" sldId="2147483775"/>
            <ac:spMk id="7" creationId="{F402785C-9C1C-D3C4-BDD9-2DDCFB3361D5}"/>
          </ac:spMkLst>
        </pc:spChg>
        <pc:graphicFrameChg chg="add mod ord modVis replST">
          <ac:chgData name="Lim, Sharon" userId="9ed40bdc-079d-4cee-a990-4411351f7f9c" providerId="ADAL" clId="{DD93C774-82BE-4DBD-AB5E-BA44CCD0E829}" dt="2023-08-31T06:57:27.442" v="6458"/>
          <ac:graphicFrameMkLst>
            <pc:docMk/>
            <pc:sldMasterMk cId="1255613337" sldId="2147483775"/>
            <ac:graphicFrameMk id="8" creationId="{71242CB6-83C0-A86D-63A3-71F2C5CC5451}"/>
          </ac:graphicFrameMkLst>
        </pc:graphicFrameChg>
      </pc:sldMasterChg>
      <pc:sldMasterChg chg="addSp delSp modSp mod">
        <pc:chgData name="Lim, Sharon" userId="9ed40bdc-079d-4cee-a990-4411351f7f9c" providerId="ADAL" clId="{DD93C774-82BE-4DBD-AB5E-BA44CCD0E829}" dt="2023-09-01T02:11:36.138" v="66186"/>
        <pc:sldMasterMkLst>
          <pc:docMk/>
          <pc:sldMasterMk cId="1255613337" sldId="2147483776"/>
        </pc:sldMasterMkLst>
        <pc:spChg chg="mod">
          <ac:chgData name="Lim, Sharon" userId="9ed40bdc-079d-4cee-a990-4411351f7f9c" providerId="ADAL" clId="{DD93C774-82BE-4DBD-AB5E-BA44CCD0E829}" dt="2023-09-01T02:11:35.512" v="65948" actId="948"/>
          <ac:spMkLst>
            <pc:docMk/>
            <pc:sldMasterMk cId="1255613337" sldId="2147483776"/>
            <ac:spMk id="2" creationId="{475BFB69-9245-EC58-F1DE-FEB625BD336A}"/>
          </ac:spMkLst>
        </pc:spChg>
        <pc:spChg chg="add del mod modVis">
          <ac:chgData name="Lim, Sharon" userId="9ed40bdc-079d-4cee-a990-4411351f7f9c" providerId="ADAL" clId="{DD93C774-82BE-4DBD-AB5E-BA44CCD0E829}" dt="2023-09-01T02:11:35.995" v="66171"/>
          <ac:spMkLst>
            <pc:docMk/>
            <pc:sldMasterMk cId="1255613337" sldId="2147483776"/>
            <ac:spMk id="7" creationId="{E0A5B838-8FC3-0635-CA16-BCA866FD075E}"/>
          </ac:spMkLst>
        </pc:spChg>
        <pc:graphicFrameChg chg="add mod ord modVis replST">
          <ac:chgData name="Lim, Sharon" userId="9ed40bdc-079d-4cee-a990-4411351f7f9c" providerId="ADAL" clId="{DD93C774-82BE-4DBD-AB5E-BA44CCD0E829}" dt="2023-09-01T02:11:36.138" v="66186"/>
          <ac:graphicFrameMkLst>
            <pc:docMk/>
            <pc:sldMasterMk cId="1255613337" sldId="2147483776"/>
            <ac:graphicFrameMk id="8" creationId="{1EC7C930-10A3-595E-ED15-6693B2F133D8}"/>
          </ac:graphicFrameMkLst>
        </pc:graphicFrameChg>
      </pc:sldMasterChg>
      <pc:sldMasterChg chg="addSp delSp modSp mod">
        <pc:chgData name="Lim, Sharon" userId="9ed40bdc-079d-4cee-a990-4411351f7f9c" providerId="ADAL" clId="{DD93C774-82BE-4DBD-AB5E-BA44CCD0E829}" dt="2023-09-01T03:25:51.888" v="66694"/>
        <pc:sldMasterMkLst>
          <pc:docMk/>
          <pc:sldMasterMk cId="1255613337" sldId="2147483788"/>
        </pc:sldMasterMkLst>
        <pc:spChg chg="mod">
          <ac:chgData name="Lim, Sharon" userId="9ed40bdc-079d-4cee-a990-4411351f7f9c" providerId="ADAL" clId="{DD93C774-82BE-4DBD-AB5E-BA44CCD0E829}" dt="2023-09-01T03:25:50.899" v="66484" actId="948"/>
          <ac:spMkLst>
            <pc:docMk/>
            <pc:sldMasterMk cId="1255613337" sldId="2147483788"/>
            <ac:spMk id="2" creationId="{475BFB69-9245-EC58-F1DE-FEB625BD336A}"/>
          </ac:spMkLst>
        </pc:spChg>
        <pc:spChg chg="add del mod modVis">
          <ac:chgData name="Lim, Sharon" userId="9ed40bdc-079d-4cee-a990-4411351f7f9c" providerId="ADAL" clId="{DD93C774-82BE-4DBD-AB5E-BA44CCD0E829}" dt="2023-09-01T03:25:51.765" v="66679"/>
          <ac:spMkLst>
            <pc:docMk/>
            <pc:sldMasterMk cId="1255613337" sldId="2147483788"/>
            <ac:spMk id="7" creationId="{72C90676-1381-2E95-6596-0E03AEAA0F87}"/>
          </ac:spMkLst>
        </pc:spChg>
        <pc:graphicFrameChg chg="add mod ord modVis replST">
          <ac:chgData name="Lim, Sharon" userId="9ed40bdc-079d-4cee-a990-4411351f7f9c" providerId="ADAL" clId="{DD93C774-82BE-4DBD-AB5E-BA44CCD0E829}" dt="2023-09-01T03:25:51.888" v="66694"/>
          <ac:graphicFrameMkLst>
            <pc:docMk/>
            <pc:sldMasterMk cId="1255613337" sldId="2147483788"/>
            <ac:graphicFrameMk id="8" creationId="{BF576438-8148-1063-F4CE-797DE5949704}"/>
          </ac:graphicFrameMkLst>
        </pc:graphicFrameChg>
      </pc:sldMasterChg>
    </pc:docChg>
  </pc:docChgLst>
  <pc:docChgLst>
    <pc:chgData name="ca.priyanka.bh@gmail.com" userId="S::urn:spo:guest#ca.priyanka.bh@gmail.com::" providerId="AD" clId="Web-{70C76C3A-7D80-1F02-E2C8-3A61FBA5B244}"/>
    <pc:docChg chg="addSld delSld modSld sldOrd addMainMaster modSection">
      <pc:chgData name="ca.priyanka.bh@gmail.com" userId="S::urn:spo:guest#ca.priyanka.bh@gmail.com::" providerId="AD" clId="Web-{70C76C3A-7D80-1F02-E2C8-3A61FBA5B244}" dt="2023-09-01T02:47:50.160" v="441"/>
      <pc:docMkLst>
        <pc:docMk/>
      </pc:docMkLst>
      <pc:sldChg chg="addSp delSp modSp">
        <pc:chgData name="ca.priyanka.bh@gmail.com" userId="S::urn:spo:guest#ca.priyanka.bh@gmail.com::" providerId="AD" clId="Web-{70C76C3A-7D80-1F02-E2C8-3A61FBA5B244}" dt="2023-09-01T02:08:02.267" v="380" actId="14100"/>
        <pc:sldMkLst>
          <pc:docMk/>
          <pc:sldMk cId="425831517" sldId="330"/>
        </pc:sldMkLst>
        <pc:spChg chg="mod">
          <ac:chgData name="ca.priyanka.bh@gmail.com" userId="S::urn:spo:guest#ca.priyanka.bh@gmail.com::" providerId="AD" clId="Web-{70C76C3A-7D80-1F02-E2C8-3A61FBA5B244}" dt="2023-09-01T01:50:39.785" v="288" actId="20577"/>
          <ac:spMkLst>
            <pc:docMk/>
            <pc:sldMk cId="425831517" sldId="330"/>
            <ac:spMk id="2" creationId="{0A75B4C7-E620-27F2-4C08-D763BE9B9F7A}"/>
          </ac:spMkLst>
        </pc:spChg>
        <pc:spChg chg="mod">
          <ac:chgData name="ca.priyanka.bh@gmail.com" userId="S::urn:spo:guest#ca.priyanka.bh@gmail.com::" providerId="AD" clId="Web-{70C76C3A-7D80-1F02-E2C8-3A61FBA5B244}" dt="2023-09-01T01:36:50.622" v="21" actId="20577"/>
          <ac:spMkLst>
            <pc:docMk/>
            <pc:sldMk cId="425831517" sldId="330"/>
            <ac:spMk id="5" creationId="{9727673B-8413-CCDC-BA64-7D07EAE62EA3}"/>
          </ac:spMkLst>
        </pc:spChg>
        <pc:spChg chg="mod">
          <ac:chgData name="ca.priyanka.bh@gmail.com" userId="S::urn:spo:guest#ca.priyanka.bh@gmail.com::" providerId="AD" clId="Web-{70C76C3A-7D80-1F02-E2C8-3A61FBA5B244}" dt="2023-09-01T01:37:06.669" v="41" actId="20577"/>
          <ac:spMkLst>
            <pc:docMk/>
            <pc:sldMk cId="425831517" sldId="330"/>
            <ac:spMk id="7" creationId="{7D1DB623-6192-2888-9F62-A037949F23BC}"/>
          </ac:spMkLst>
        </pc:spChg>
        <pc:spChg chg="mod">
          <ac:chgData name="ca.priyanka.bh@gmail.com" userId="S::urn:spo:guest#ca.priyanka.bh@gmail.com::" providerId="AD" clId="Web-{70C76C3A-7D80-1F02-E2C8-3A61FBA5B244}" dt="2023-09-01T01:41:21.504" v="255" actId="20577"/>
          <ac:spMkLst>
            <pc:docMk/>
            <pc:sldMk cId="425831517" sldId="330"/>
            <ac:spMk id="15" creationId="{88775B6C-9C34-4020-DD10-7CF9644BBE20}"/>
          </ac:spMkLst>
        </pc:spChg>
        <pc:picChg chg="add del mod">
          <ac:chgData name="ca.priyanka.bh@gmail.com" userId="S::urn:spo:guest#ca.priyanka.bh@gmail.com::" providerId="AD" clId="Web-{70C76C3A-7D80-1F02-E2C8-3A61FBA5B244}" dt="2023-09-01T01:34:33.477" v="5"/>
          <ac:picMkLst>
            <pc:docMk/>
            <pc:sldMk cId="425831517" sldId="330"/>
            <ac:picMk id="8" creationId="{73E959EF-9287-5AFB-BED5-3A2590DF9DC0}"/>
          </ac:picMkLst>
        </pc:picChg>
        <pc:picChg chg="add del mod">
          <ac:chgData name="ca.priyanka.bh@gmail.com" userId="S::urn:spo:guest#ca.priyanka.bh@gmail.com::" providerId="AD" clId="Web-{70C76C3A-7D80-1F02-E2C8-3A61FBA5B244}" dt="2023-09-01T02:00:17.145" v="334"/>
          <ac:picMkLst>
            <pc:docMk/>
            <pc:sldMk cId="425831517" sldId="330"/>
            <ac:picMk id="9" creationId="{FA2B320F-9180-4414-92CD-3D7ECE5A0119}"/>
          </ac:picMkLst>
        </pc:picChg>
        <pc:picChg chg="add del mod">
          <ac:chgData name="ca.priyanka.bh@gmail.com" userId="S::urn:spo:guest#ca.priyanka.bh@gmail.com::" providerId="AD" clId="Web-{70C76C3A-7D80-1F02-E2C8-3A61FBA5B244}" dt="2023-09-01T02:00:00.410" v="327"/>
          <ac:picMkLst>
            <pc:docMk/>
            <pc:sldMk cId="425831517" sldId="330"/>
            <ac:picMk id="10" creationId="{3A60214A-6302-F1BE-CF9A-BAB588E9A05B}"/>
          </ac:picMkLst>
        </pc:picChg>
        <pc:picChg chg="add del mod">
          <ac:chgData name="ca.priyanka.bh@gmail.com" userId="S::urn:spo:guest#ca.priyanka.bh@gmail.com::" providerId="AD" clId="Web-{70C76C3A-7D80-1F02-E2C8-3A61FBA5B244}" dt="2023-09-01T02:07:28.407" v="373"/>
          <ac:picMkLst>
            <pc:docMk/>
            <pc:sldMk cId="425831517" sldId="330"/>
            <ac:picMk id="11" creationId="{3FDCCED9-4267-8A91-F82D-C64DE539DB85}"/>
          </ac:picMkLst>
        </pc:picChg>
        <pc:picChg chg="add mod">
          <ac:chgData name="ca.priyanka.bh@gmail.com" userId="S::urn:spo:guest#ca.priyanka.bh@gmail.com::" providerId="AD" clId="Web-{70C76C3A-7D80-1F02-E2C8-3A61FBA5B244}" dt="2023-09-01T02:00:48.224" v="342" actId="14100"/>
          <ac:picMkLst>
            <pc:docMk/>
            <pc:sldMk cId="425831517" sldId="330"/>
            <ac:picMk id="12" creationId="{719A15E3-7CD1-00BB-2CC1-D276E7F52BF9}"/>
          </ac:picMkLst>
        </pc:picChg>
        <pc:picChg chg="add mod">
          <ac:chgData name="ca.priyanka.bh@gmail.com" userId="S::urn:spo:guest#ca.priyanka.bh@gmail.com::" providerId="AD" clId="Web-{70C76C3A-7D80-1F02-E2C8-3A61FBA5B244}" dt="2023-09-01T02:01:18.975" v="349" actId="14100"/>
          <ac:picMkLst>
            <pc:docMk/>
            <pc:sldMk cId="425831517" sldId="330"/>
            <ac:picMk id="13" creationId="{8063CF33-F327-0C12-7447-ADE137E4D66D}"/>
          </ac:picMkLst>
        </pc:picChg>
        <pc:picChg chg="add mod">
          <ac:chgData name="ca.priyanka.bh@gmail.com" userId="S::urn:spo:guest#ca.priyanka.bh@gmail.com::" providerId="AD" clId="Web-{70C76C3A-7D80-1F02-E2C8-3A61FBA5B244}" dt="2023-09-01T02:08:02.267" v="380" actId="14100"/>
          <ac:picMkLst>
            <pc:docMk/>
            <pc:sldMk cId="425831517" sldId="330"/>
            <ac:picMk id="14" creationId="{46DD8DE1-2FF9-0504-743A-D6370931D41A}"/>
          </ac:picMkLst>
        </pc:picChg>
      </pc:sldChg>
      <pc:sldChg chg="modSp add del ord">
        <pc:chgData name="ca.priyanka.bh@gmail.com" userId="S::urn:spo:guest#ca.priyanka.bh@gmail.com::" providerId="AD" clId="Web-{70C76C3A-7D80-1F02-E2C8-3A61FBA5B244}" dt="2023-09-01T02:28:38.098" v="440"/>
        <pc:sldMkLst>
          <pc:docMk/>
          <pc:sldMk cId="2427774306" sldId="332"/>
        </pc:sldMkLst>
        <pc:spChg chg="mod">
          <ac:chgData name="ca.priyanka.bh@gmail.com" userId="S::urn:spo:guest#ca.priyanka.bh@gmail.com::" providerId="AD" clId="Web-{70C76C3A-7D80-1F02-E2C8-3A61FBA5B244}" dt="2023-09-01T02:14:51.544" v="432" actId="20577"/>
          <ac:spMkLst>
            <pc:docMk/>
            <pc:sldMk cId="2427774306" sldId="332"/>
            <ac:spMk id="2" creationId="{08A29496-E48B-1AC9-156E-41EEDC500E88}"/>
          </ac:spMkLst>
        </pc:spChg>
      </pc:sldChg>
      <pc:sldChg chg="add del ord">
        <pc:chgData name="ca.priyanka.bh@gmail.com" userId="S::urn:spo:guest#ca.priyanka.bh@gmail.com::" providerId="AD" clId="Web-{70C76C3A-7D80-1F02-E2C8-3A61FBA5B244}" dt="2023-09-01T02:13:42.058" v="415"/>
        <pc:sldMkLst>
          <pc:docMk/>
          <pc:sldMk cId="228706509" sldId="333"/>
        </pc:sldMkLst>
      </pc:sldChg>
      <pc:sldChg chg="add del ord">
        <pc:chgData name="ca.priyanka.bh@gmail.com" userId="S::urn:spo:guest#ca.priyanka.bh@gmail.com::" providerId="AD" clId="Web-{70C76C3A-7D80-1F02-E2C8-3A61FBA5B244}" dt="2023-09-01T02:12:42.259" v="412"/>
        <pc:sldMkLst>
          <pc:docMk/>
          <pc:sldMk cId="2229906648" sldId="334"/>
        </pc:sldMkLst>
      </pc:sldChg>
      <pc:sldChg chg="modSp ord">
        <pc:chgData name="ca.priyanka.bh@gmail.com" userId="S::urn:spo:guest#ca.priyanka.bh@gmail.com::" providerId="AD" clId="Web-{70C76C3A-7D80-1F02-E2C8-3A61FBA5B244}" dt="2023-09-01T02:10:16.802" v="391"/>
        <pc:sldMkLst>
          <pc:docMk/>
          <pc:sldMk cId="1610706451" sldId="335"/>
        </pc:sldMkLst>
        <pc:spChg chg="mod">
          <ac:chgData name="ca.priyanka.bh@gmail.com" userId="S::urn:spo:guest#ca.priyanka.bh@gmail.com::" providerId="AD" clId="Web-{70C76C3A-7D80-1F02-E2C8-3A61FBA5B244}" dt="2023-09-01T02:10:03.974" v="389" actId="20577"/>
          <ac:spMkLst>
            <pc:docMk/>
            <pc:sldMk cId="1610706451" sldId="335"/>
            <ac:spMk id="2" creationId="{9380273C-EFC5-DA6F-F520-6660F4C9A379}"/>
          </ac:spMkLst>
        </pc:spChg>
      </pc:sldChg>
      <pc:sldChg chg="new">
        <pc:chgData name="ca.priyanka.bh@gmail.com" userId="S::urn:spo:guest#ca.priyanka.bh@gmail.com::" providerId="AD" clId="Web-{70C76C3A-7D80-1F02-E2C8-3A61FBA5B244}" dt="2023-09-01T01:51:07.317" v="289"/>
        <pc:sldMkLst>
          <pc:docMk/>
          <pc:sldMk cId="2327032015" sldId="344"/>
        </pc:sldMkLst>
      </pc:sldChg>
      <pc:sldChg chg="addSp delSp modSp add replId">
        <pc:chgData name="ca.priyanka.bh@gmail.com" userId="S::urn:spo:guest#ca.priyanka.bh@gmail.com::" providerId="AD" clId="Web-{70C76C3A-7D80-1F02-E2C8-3A61FBA5B244}" dt="2023-09-01T02:07:22.891" v="372" actId="14100"/>
        <pc:sldMkLst>
          <pc:docMk/>
          <pc:sldMk cId="845889813" sldId="345"/>
        </pc:sldMkLst>
        <pc:spChg chg="mod">
          <ac:chgData name="ca.priyanka.bh@gmail.com" userId="S::urn:spo:guest#ca.priyanka.bh@gmail.com::" providerId="AD" clId="Web-{70C76C3A-7D80-1F02-E2C8-3A61FBA5B244}" dt="2023-09-01T01:51:27.756" v="295" actId="20577"/>
          <ac:spMkLst>
            <pc:docMk/>
            <pc:sldMk cId="845889813" sldId="345"/>
            <ac:spMk id="2" creationId="{0A75B4C7-E620-27F2-4C08-D763BE9B9F7A}"/>
          </ac:spMkLst>
        </pc:spChg>
        <pc:spChg chg="mod">
          <ac:chgData name="ca.priyanka.bh@gmail.com" userId="S::urn:spo:guest#ca.priyanka.bh@gmail.com::" providerId="AD" clId="Web-{70C76C3A-7D80-1F02-E2C8-3A61FBA5B244}" dt="2023-09-01T01:52:02.038" v="322" actId="20577"/>
          <ac:spMkLst>
            <pc:docMk/>
            <pc:sldMk cId="845889813" sldId="345"/>
            <ac:spMk id="5" creationId="{9727673B-8413-CCDC-BA64-7D07EAE62EA3}"/>
          </ac:spMkLst>
        </pc:spChg>
        <pc:spChg chg="mod">
          <ac:chgData name="ca.priyanka.bh@gmail.com" userId="S::urn:spo:guest#ca.priyanka.bh@gmail.com::" providerId="AD" clId="Web-{70C76C3A-7D80-1F02-E2C8-3A61FBA5B244}" dt="2023-09-01T01:51:46.334" v="313" actId="20577"/>
          <ac:spMkLst>
            <pc:docMk/>
            <pc:sldMk cId="845889813" sldId="345"/>
            <ac:spMk id="7" creationId="{7D1DB623-6192-2888-9F62-A037949F23BC}"/>
          </ac:spMkLst>
        </pc:spChg>
        <pc:spChg chg="mod">
          <ac:chgData name="ca.priyanka.bh@gmail.com" userId="S::urn:spo:guest#ca.priyanka.bh@gmail.com::" providerId="AD" clId="Web-{70C76C3A-7D80-1F02-E2C8-3A61FBA5B244}" dt="2023-09-01T01:51:24.599" v="294" actId="20577"/>
          <ac:spMkLst>
            <pc:docMk/>
            <pc:sldMk cId="845889813" sldId="345"/>
            <ac:spMk id="15" creationId="{88775B6C-9C34-4020-DD10-7CF9644BBE20}"/>
          </ac:spMkLst>
        </pc:spChg>
        <pc:picChg chg="add mod">
          <ac:chgData name="ca.priyanka.bh@gmail.com" userId="S::urn:spo:guest#ca.priyanka.bh@gmail.com::" providerId="AD" clId="Web-{70C76C3A-7D80-1F02-E2C8-3A61FBA5B244}" dt="2023-09-01T02:07:22.891" v="372" actId="14100"/>
          <ac:picMkLst>
            <pc:docMk/>
            <pc:sldMk cId="845889813" sldId="345"/>
            <ac:picMk id="8" creationId="{F412E917-C871-B19C-E7DA-AF15E97DF501}"/>
          </ac:picMkLst>
        </pc:picChg>
        <pc:picChg chg="del">
          <ac:chgData name="ca.priyanka.bh@gmail.com" userId="S::urn:spo:guest#ca.priyanka.bh@gmail.com::" providerId="AD" clId="Web-{70C76C3A-7D80-1F02-E2C8-3A61FBA5B244}" dt="2023-09-01T01:51:18.084" v="291"/>
          <ac:picMkLst>
            <pc:docMk/>
            <pc:sldMk cId="845889813" sldId="345"/>
            <ac:picMk id="9" creationId="{FA2B320F-9180-4414-92CD-3D7ECE5A0119}"/>
          </ac:picMkLst>
        </pc:picChg>
        <pc:picChg chg="del">
          <ac:chgData name="ca.priyanka.bh@gmail.com" userId="S::urn:spo:guest#ca.priyanka.bh@gmail.com::" providerId="AD" clId="Web-{70C76C3A-7D80-1F02-E2C8-3A61FBA5B244}" dt="2023-09-01T01:51:18.849" v="292"/>
          <ac:picMkLst>
            <pc:docMk/>
            <pc:sldMk cId="845889813" sldId="345"/>
            <ac:picMk id="10" creationId="{3A60214A-6302-F1BE-CF9A-BAB588E9A05B}"/>
          </ac:picMkLst>
        </pc:picChg>
        <pc:picChg chg="add mod">
          <ac:chgData name="ca.priyanka.bh@gmail.com" userId="S::urn:spo:guest#ca.priyanka.bh@gmail.com::" providerId="AD" clId="Web-{70C76C3A-7D80-1F02-E2C8-3A61FBA5B244}" dt="2023-09-01T02:01:51.226" v="353" actId="1076"/>
          <ac:picMkLst>
            <pc:docMk/>
            <pc:sldMk cId="845889813" sldId="345"/>
            <ac:picMk id="11" creationId="{8D5DBD94-ECCA-632F-038C-198641869AF3}"/>
          </ac:picMkLst>
        </pc:picChg>
        <pc:picChg chg="add del mod">
          <ac:chgData name="ca.priyanka.bh@gmail.com" userId="S::urn:spo:guest#ca.priyanka.bh@gmail.com::" providerId="AD" clId="Web-{70C76C3A-7D80-1F02-E2C8-3A61FBA5B244}" dt="2023-09-01T02:06:02.045" v="358"/>
          <ac:picMkLst>
            <pc:docMk/>
            <pc:sldMk cId="845889813" sldId="345"/>
            <ac:picMk id="12" creationId="{A95016E5-13F7-B3F9-0573-9BF0EFFE9501}"/>
          </ac:picMkLst>
        </pc:picChg>
        <pc:picChg chg="add del mod">
          <ac:chgData name="ca.priyanka.bh@gmail.com" userId="S::urn:spo:guest#ca.priyanka.bh@gmail.com::" providerId="AD" clId="Web-{70C76C3A-7D80-1F02-E2C8-3A61FBA5B244}" dt="2023-09-01T02:07:06.797" v="366"/>
          <ac:picMkLst>
            <pc:docMk/>
            <pc:sldMk cId="845889813" sldId="345"/>
            <ac:picMk id="13" creationId="{C434D70A-071B-48B5-9CBD-848AFF083B49}"/>
          </ac:picMkLst>
        </pc:picChg>
        <pc:picChg chg="add mod">
          <ac:chgData name="ca.priyanka.bh@gmail.com" userId="S::urn:spo:guest#ca.priyanka.bh@gmail.com::" providerId="AD" clId="Web-{70C76C3A-7D80-1F02-E2C8-3A61FBA5B244}" dt="2023-09-01T02:07:17.454" v="370" actId="14100"/>
          <ac:picMkLst>
            <pc:docMk/>
            <pc:sldMk cId="845889813" sldId="345"/>
            <ac:picMk id="14" creationId="{C8406CD0-157C-224C-7483-C62FB53DDC11}"/>
          </ac:picMkLst>
        </pc:picChg>
      </pc:sldChg>
      <pc:sldChg chg="add">
        <pc:chgData name="ca.priyanka.bh@gmail.com" userId="S::urn:spo:guest#ca.priyanka.bh@gmail.com::" providerId="AD" clId="Web-{70C76C3A-7D80-1F02-E2C8-3A61FBA5B244}" dt="2023-09-01T02:47:50.160" v="441"/>
        <pc:sldMkLst>
          <pc:docMk/>
          <pc:sldMk cId="2319001904" sldId="347"/>
        </pc:sldMkLst>
      </pc:sldChg>
      <pc:sldMasterChg chg="add addSldLayout">
        <pc:chgData name="ca.priyanka.bh@gmail.com" userId="S::urn:spo:guest#ca.priyanka.bh@gmail.com::" providerId="AD" clId="Web-{70C76C3A-7D80-1F02-E2C8-3A61FBA5B244}" dt="2023-09-01T02:47:50.160" v="441"/>
        <pc:sldMasterMkLst>
          <pc:docMk/>
          <pc:sldMasterMk cId="1255613337" sldId="2147483788"/>
        </pc:sldMasterMkLst>
        <pc:sldLayoutChg chg="add">
          <pc:chgData name="ca.priyanka.bh@gmail.com" userId="S::urn:spo:guest#ca.priyanka.bh@gmail.com::" providerId="AD" clId="Web-{70C76C3A-7D80-1F02-E2C8-3A61FBA5B244}" dt="2023-09-01T02:47:50.160" v="441"/>
          <pc:sldLayoutMkLst>
            <pc:docMk/>
            <pc:sldMasterMk cId="1255613337" sldId="2147483788"/>
            <pc:sldLayoutMk cId="1328025864" sldId="2147483789"/>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1650926966" sldId="2147483790"/>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1792512534" sldId="2147483791"/>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2452916933" sldId="2147483792"/>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1983575050" sldId="2147483793"/>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484231045" sldId="2147483794"/>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3186507295" sldId="2147483795"/>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3712353464" sldId="2147483796"/>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259943520" sldId="2147483797"/>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2182128021" sldId="2147483798"/>
          </pc:sldLayoutMkLst>
        </pc:sldLayoutChg>
        <pc:sldLayoutChg chg="add">
          <pc:chgData name="ca.priyanka.bh@gmail.com" userId="S::urn:spo:guest#ca.priyanka.bh@gmail.com::" providerId="AD" clId="Web-{70C76C3A-7D80-1F02-E2C8-3A61FBA5B244}" dt="2023-09-01T02:47:50.160" v="441"/>
          <pc:sldLayoutMkLst>
            <pc:docMk/>
            <pc:sldMasterMk cId="1255613337" sldId="2147483788"/>
            <pc:sldLayoutMk cId="3365798228" sldId="2147483799"/>
          </pc:sldLayoutMkLst>
        </pc:sldLayoutChg>
      </pc:sldMasterChg>
    </pc:docChg>
  </pc:docChgLst>
  <pc:docChgLst>
    <pc:chgData name="nyvltmichael@gmail.com" userId="S::urn:spo:guest#nyvltmichael@gmail.com::" providerId="AD" clId="Web-{305000B3-EB1E-DFCB-ECE8-CE18488CF1D1}"/>
    <pc:docChg chg="delSld modSld sldOrd modSection">
      <pc:chgData name="nyvltmichael@gmail.com" userId="S::urn:spo:guest#nyvltmichael@gmail.com::" providerId="AD" clId="Web-{305000B3-EB1E-DFCB-ECE8-CE18488CF1D1}" dt="2023-09-01T04:24:29.668" v="2101" actId="1076"/>
      <pc:docMkLst>
        <pc:docMk/>
      </pc:docMkLst>
      <pc:sldChg chg="ord">
        <pc:chgData name="nyvltmichael@gmail.com" userId="S::urn:spo:guest#nyvltmichael@gmail.com::" providerId="AD" clId="Web-{305000B3-EB1E-DFCB-ECE8-CE18488CF1D1}" dt="2023-09-01T00:13:01.913" v="0"/>
        <pc:sldMkLst>
          <pc:docMk/>
          <pc:sldMk cId="3793799286" sldId="309"/>
        </pc:sldMkLst>
      </pc:sldChg>
      <pc:sldChg chg="addSp delSp modSp">
        <pc:chgData name="nyvltmichael@gmail.com" userId="S::urn:spo:guest#nyvltmichael@gmail.com::" providerId="AD" clId="Web-{305000B3-EB1E-DFCB-ECE8-CE18488CF1D1}" dt="2023-09-01T04:24:29.668" v="2101" actId="1076"/>
        <pc:sldMkLst>
          <pc:docMk/>
          <pc:sldMk cId="3687526279" sldId="318"/>
        </pc:sldMkLst>
        <pc:spChg chg="mod">
          <ac:chgData name="nyvltmichael@gmail.com" userId="S::urn:spo:guest#nyvltmichael@gmail.com::" providerId="AD" clId="Web-{305000B3-EB1E-DFCB-ECE8-CE18488CF1D1}" dt="2023-09-01T01:05:05.165" v="37" actId="1076"/>
          <ac:spMkLst>
            <pc:docMk/>
            <pc:sldMk cId="3687526279" sldId="318"/>
            <ac:spMk id="5" creationId="{9727673B-8413-CCDC-BA64-7D07EAE62EA3}"/>
          </ac:spMkLst>
        </pc:spChg>
        <pc:spChg chg="mod">
          <ac:chgData name="nyvltmichael@gmail.com" userId="S::urn:spo:guest#nyvltmichael@gmail.com::" providerId="AD" clId="Web-{305000B3-EB1E-DFCB-ECE8-CE18488CF1D1}" dt="2023-09-01T04:24:29.668" v="2101" actId="1076"/>
          <ac:spMkLst>
            <pc:docMk/>
            <pc:sldMk cId="3687526279" sldId="318"/>
            <ac:spMk id="6" creationId="{95F89051-279F-98F0-F3A3-E8717CF3EC24}"/>
          </ac:spMkLst>
        </pc:spChg>
        <pc:spChg chg="mod">
          <ac:chgData name="nyvltmichael@gmail.com" userId="S::urn:spo:guest#nyvltmichael@gmail.com::" providerId="AD" clId="Web-{305000B3-EB1E-DFCB-ECE8-CE18488CF1D1}" dt="2023-09-01T01:43:37.048" v="940" actId="1076"/>
          <ac:spMkLst>
            <pc:docMk/>
            <pc:sldMk cId="3687526279" sldId="318"/>
            <ac:spMk id="7" creationId="{B4F155E1-F046-0408-F0EA-8D15FDE754B7}"/>
          </ac:spMkLst>
        </pc:spChg>
        <pc:picChg chg="add del mod">
          <ac:chgData name="nyvltmichael@gmail.com" userId="S::urn:spo:guest#nyvltmichael@gmail.com::" providerId="AD" clId="Web-{305000B3-EB1E-DFCB-ECE8-CE18488CF1D1}" dt="2023-09-01T01:04:15.726" v="8"/>
          <ac:picMkLst>
            <pc:docMk/>
            <pc:sldMk cId="3687526279" sldId="318"/>
            <ac:picMk id="2" creationId="{B38E2496-274C-C917-179F-BD966366F62E}"/>
          </ac:picMkLst>
        </pc:picChg>
        <pc:picChg chg="add mod">
          <ac:chgData name="nyvltmichael@gmail.com" userId="S::urn:spo:guest#nyvltmichael@gmail.com::" providerId="AD" clId="Web-{305000B3-EB1E-DFCB-ECE8-CE18488CF1D1}" dt="2023-09-01T01:04:31.898" v="16" actId="14100"/>
          <ac:picMkLst>
            <pc:docMk/>
            <pc:sldMk cId="3687526279" sldId="318"/>
            <ac:picMk id="3" creationId="{C9F8E9EB-CE98-B1AD-91EE-15EF1A00786E}"/>
          </ac:picMkLst>
        </pc:picChg>
      </pc:sldChg>
      <pc:sldChg chg="addSp delSp modSp">
        <pc:chgData name="nyvltmichael@gmail.com" userId="S::urn:spo:guest#nyvltmichael@gmail.com::" providerId="AD" clId="Web-{305000B3-EB1E-DFCB-ECE8-CE18488CF1D1}" dt="2023-09-01T01:47:01.961" v="1141" actId="20577"/>
        <pc:sldMkLst>
          <pc:docMk/>
          <pc:sldMk cId="564263708" sldId="319"/>
        </pc:sldMkLst>
        <pc:spChg chg="mod">
          <ac:chgData name="nyvltmichael@gmail.com" userId="S::urn:spo:guest#nyvltmichael@gmail.com::" providerId="AD" clId="Web-{305000B3-EB1E-DFCB-ECE8-CE18488CF1D1}" dt="2023-09-01T01:47:01.961" v="1141" actId="20577"/>
          <ac:spMkLst>
            <pc:docMk/>
            <pc:sldMk cId="564263708" sldId="319"/>
            <ac:spMk id="6" creationId="{95F89051-279F-98F0-F3A3-E8717CF3EC24}"/>
          </ac:spMkLst>
        </pc:spChg>
        <pc:spChg chg="add mod">
          <ac:chgData name="nyvltmichael@gmail.com" userId="S::urn:spo:guest#nyvltmichael@gmail.com::" providerId="AD" clId="Web-{305000B3-EB1E-DFCB-ECE8-CE18488CF1D1}" dt="2023-09-01T01:20:25.834" v="218" actId="20577"/>
          <ac:spMkLst>
            <pc:docMk/>
            <pc:sldMk cId="564263708" sldId="319"/>
            <ac:spMk id="7" creationId="{ADC72016-FA74-D6EC-F73D-792EF857AD5F}"/>
          </ac:spMkLst>
        </pc:spChg>
        <pc:spChg chg="mod">
          <ac:chgData name="nyvltmichael@gmail.com" userId="S::urn:spo:guest#nyvltmichael@gmail.com::" providerId="AD" clId="Web-{305000B3-EB1E-DFCB-ECE8-CE18488CF1D1}" dt="2023-09-01T01:36:38.692" v="659" actId="1076"/>
          <ac:spMkLst>
            <pc:docMk/>
            <pc:sldMk cId="564263708" sldId="319"/>
            <ac:spMk id="8" creationId="{085A59E7-5E46-AE83-14D4-01FF98F120FE}"/>
          </ac:spMkLst>
        </pc:spChg>
        <pc:picChg chg="add del mod">
          <ac:chgData name="nyvltmichael@gmail.com" userId="S::urn:spo:guest#nyvltmichael@gmail.com::" providerId="AD" clId="Web-{305000B3-EB1E-DFCB-ECE8-CE18488CF1D1}" dt="2023-09-01T01:16:50.499" v="128"/>
          <ac:picMkLst>
            <pc:docMk/>
            <pc:sldMk cId="564263708" sldId="319"/>
            <ac:picMk id="2" creationId="{2F2A9A62-B7F9-0489-3881-6EF448A0D2C3}"/>
          </ac:picMkLst>
        </pc:picChg>
        <pc:picChg chg="add mod">
          <ac:chgData name="nyvltmichael@gmail.com" userId="S::urn:spo:guest#nyvltmichael@gmail.com::" providerId="AD" clId="Web-{305000B3-EB1E-DFCB-ECE8-CE18488CF1D1}" dt="2023-09-01T01:17:17.328" v="131" actId="14100"/>
          <ac:picMkLst>
            <pc:docMk/>
            <pc:sldMk cId="564263708" sldId="319"/>
            <ac:picMk id="3" creationId="{3B61F8B7-0358-1040-2656-8718D072E09E}"/>
          </ac:picMkLst>
        </pc:picChg>
      </pc:sldChg>
      <pc:sldChg chg="addSp modSp">
        <pc:chgData name="nyvltmichael@gmail.com" userId="S::urn:spo:guest#nyvltmichael@gmail.com::" providerId="AD" clId="Web-{305000B3-EB1E-DFCB-ECE8-CE18488CF1D1}" dt="2023-09-01T01:43:13.392" v="937" actId="1076"/>
        <pc:sldMkLst>
          <pc:docMk/>
          <pc:sldMk cId="153669549" sldId="322"/>
        </pc:sldMkLst>
        <pc:spChg chg="mod">
          <ac:chgData name="nyvltmichael@gmail.com" userId="S::urn:spo:guest#nyvltmichael@gmail.com::" providerId="AD" clId="Web-{305000B3-EB1E-DFCB-ECE8-CE18488CF1D1}" dt="2023-09-01T01:37:35.053" v="675" actId="20577"/>
          <ac:spMkLst>
            <pc:docMk/>
            <pc:sldMk cId="153669549" sldId="322"/>
            <ac:spMk id="6" creationId="{95F89051-279F-98F0-F3A3-E8717CF3EC24}"/>
          </ac:spMkLst>
        </pc:spChg>
        <pc:spChg chg="add mod">
          <ac:chgData name="nyvltmichael@gmail.com" userId="S::urn:spo:guest#nyvltmichael@gmail.com::" providerId="AD" clId="Web-{305000B3-EB1E-DFCB-ECE8-CE18488CF1D1}" dt="2023-09-01T01:43:06.079" v="935" actId="1076"/>
          <ac:spMkLst>
            <pc:docMk/>
            <pc:sldMk cId="153669549" sldId="322"/>
            <ac:spMk id="7" creationId="{237EF3C4-70A9-7A21-6394-347309BD885D}"/>
          </ac:spMkLst>
        </pc:spChg>
        <pc:spChg chg="add mod">
          <ac:chgData name="nyvltmichael@gmail.com" userId="S::urn:spo:guest#nyvltmichael@gmail.com::" providerId="AD" clId="Web-{305000B3-EB1E-DFCB-ECE8-CE18488CF1D1}" dt="2023-09-01T01:43:13.392" v="937" actId="1076"/>
          <ac:spMkLst>
            <pc:docMk/>
            <pc:sldMk cId="153669549" sldId="322"/>
            <ac:spMk id="8" creationId="{CCDF19B3-6AFA-6D12-BD9B-04797F0B4724}"/>
          </ac:spMkLst>
        </pc:spChg>
        <pc:picChg chg="add mod">
          <ac:chgData name="nyvltmichael@gmail.com" userId="S::urn:spo:guest#nyvltmichael@gmail.com::" providerId="AD" clId="Web-{305000B3-EB1E-DFCB-ECE8-CE18488CF1D1}" dt="2023-09-01T01:35:40.393" v="652" actId="1076"/>
          <ac:picMkLst>
            <pc:docMk/>
            <pc:sldMk cId="153669549" sldId="322"/>
            <ac:picMk id="2" creationId="{DA4D55D7-3106-70EA-965F-55D728F28D3D}"/>
          </ac:picMkLst>
        </pc:picChg>
      </pc:sldChg>
      <pc:sldChg chg="addSp modSp">
        <pc:chgData name="nyvltmichael@gmail.com" userId="S::urn:spo:guest#nyvltmichael@gmail.com::" providerId="AD" clId="Web-{305000B3-EB1E-DFCB-ECE8-CE18488CF1D1}" dt="2023-09-01T03:48:45.068" v="2100" actId="20577"/>
        <pc:sldMkLst>
          <pc:docMk/>
          <pc:sldMk cId="1970204867" sldId="326"/>
        </pc:sldMkLst>
        <pc:spChg chg="add mod">
          <ac:chgData name="nyvltmichael@gmail.com" userId="S::urn:spo:guest#nyvltmichael@gmail.com::" providerId="AD" clId="Web-{305000B3-EB1E-DFCB-ECE8-CE18488CF1D1}" dt="2023-09-01T03:45:12.858" v="2091" actId="20577"/>
          <ac:spMkLst>
            <pc:docMk/>
            <pc:sldMk cId="1970204867" sldId="326"/>
            <ac:spMk id="2" creationId="{18D39382-C967-A7EB-50E1-AA9CD0569124}"/>
          </ac:spMkLst>
        </pc:spChg>
        <pc:spChg chg="mod">
          <ac:chgData name="nyvltmichael@gmail.com" userId="S::urn:spo:guest#nyvltmichael@gmail.com::" providerId="AD" clId="Web-{305000B3-EB1E-DFCB-ECE8-CE18488CF1D1}" dt="2023-09-01T03:48:45.068" v="2100" actId="20577"/>
          <ac:spMkLst>
            <pc:docMk/>
            <pc:sldMk cId="1970204867" sldId="326"/>
            <ac:spMk id="6" creationId="{95F89051-279F-98F0-F3A3-E8717CF3EC24}"/>
          </ac:spMkLst>
        </pc:spChg>
      </pc:sldChg>
      <pc:sldChg chg="modSp">
        <pc:chgData name="nyvltmichael@gmail.com" userId="S::urn:spo:guest#nyvltmichael@gmail.com::" providerId="AD" clId="Web-{305000B3-EB1E-DFCB-ECE8-CE18488CF1D1}" dt="2023-09-01T02:02:02.551" v="1740" actId="20577"/>
        <pc:sldMkLst>
          <pc:docMk/>
          <pc:sldMk cId="425831517" sldId="330"/>
        </pc:sldMkLst>
        <pc:spChg chg="mod">
          <ac:chgData name="nyvltmichael@gmail.com" userId="S::urn:spo:guest#nyvltmichael@gmail.com::" providerId="AD" clId="Web-{305000B3-EB1E-DFCB-ECE8-CE18488CF1D1}" dt="2023-09-01T02:02:02.551" v="1740" actId="20577"/>
          <ac:spMkLst>
            <pc:docMk/>
            <pc:sldMk cId="425831517" sldId="330"/>
            <ac:spMk id="6" creationId="{95F89051-279F-98F0-F3A3-E8717CF3EC24}"/>
          </ac:spMkLst>
        </pc:spChg>
      </pc:sldChg>
      <pc:sldChg chg="addSp modSp">
        <pc:chgData name="nyvltmichael@gmail.com" userId="S::urn:spo:guest#nyvltmichael@gmail.com::" providerId="AD" clId="Web-{305000B3-EB1E-DFCB-ECE8-CE18488CF1D1}" dt="2023-09-01T03:48:14.754" v="2097" actId="1076"/>
        <pc:sldMkLst>
          <pc:docMk/>
          <pc:sldMk cId="580382196" sldId="336"/>
        </pc:sldMkLst>
        <pc:spChg chg="mod">
          <ac:chgData name="nyvltmichael@gmail.com" userId="S::urn:spo:guest#nyvltmichael@gmail.com::" providerId="AD" clId="Web-{305000B3-EB1E-DFCB-ECE8-CE18488CF1D1}" dt="2023-09-01T03:40:44.412" v="1978" actId="20577"/>
          <ac:spMkLst>
            <pc:docMk/>
            <pc:sldMk cId="580382196" sldId="336"/>
            <ac:spMk id="2" creationId="{57CE61F8-CC43-D7EB-F4F3-057B58DC502F}"/>
          </ac:spMkLst>
        </pc:spChg>
        <pc:picChg chg="add mod">
          <ac:chgData name="nyvltmichael@gmail.com" userId="S::urn:spo:guest#nyvltmichael@gmail.com::" providerId="AD" clId="Web-{305000B3-EB1E-DFCB-ECE8-CE18488CF1D1}" dt="2023-09-01T03:48:14.754" v="2097" actId="1076"/>
          <ac:picMkLst>
            <pc:docMk/>
            <pc:sldMk cId="580382196" sldId="336"/>
            <ac:picMk id="3" creationId="{776790E6-8E0B-BB8F-8EEA-3BA00F9F71B0}"/>
          </ac:picMkLst>
        </pc:picChg>
      </pc:sldChg>
      <pc:sldChg chg="del">
        <pc:chgData name="nyvltmichael@gmail.com" userId="S::urn:spo:guest#nyvltmichael@gmail.com::" providerId="AD" clId="Web-{305000B3-EB1E-DFCB-ECE8-CE18488CF1D1}" dt="2023-09-01T01:36:21.957" v="656"/>
        <pc:sldMkLst>
          <pc:docMk/>
          <pc:sldMk cId="444628649" sldId="337"/>
        </pc:sldMkLst>
      </pc:sldChg>
      <pc:sldChg chg="addSp delSp modSp">
        <pc:chgData name="nyvltmichael@gmail.com" userId="S::urn:spo:guest#nyvltmichael@gmail.com::" providerId="AD" clId="Web-{305000B3-EB1E-DFCB-ECE8-CE18488CF1D1}" dt="2023-09-01T02:22:36.589" v="1824"/>
        <pc:sldMkLst>
          <pc:docMk/>
          <pc:sldMk cId="3651499539" sldId="337"/>
        </pc:sldMkLst>
        <pc:spChg chg="mod">
          <ac:chgData name="nyvltmichael@gmail.com" userId="S::urn:spo:guest#nyvltmichael@gmail.com::" providerId="AD" clId="Web-{305000B3-EB1E-DFCB-ECE8-CE18488CF1D1}" dt="2023-09-01T02:19:28.567" v="1814" actId="20577"/>
          <ac:spMkLst>
            <pc:docMk/>
            <pc:sldMk cId="3651499539" sldId="337"/>
            <ac:spMk id="9" creationId="{6F7D9B9E-5B4A-23E4-83B2-6249E8303DE2}"/>
          </ac:spMkLst>
        </pc:spChg>
        <pc:picChg chg="add del mod">
          <ac:chgData name="nyvltmichael@gmail.com" userId="S::urn:spo:guest#nyvltmichael@gmail.com::" providerId="AD" clId="Web-{305000B3-EB1E-DFCB-ECE8-CE18488CF1D1}" dt="2023-09-01T02:19:57.865" v="1818"/>
          <ac:picMkLst>
            <pc:docMk/>
            <pc:sldMk cId="3651499539" sldId="337"/>
            <ac:picMk id="12" creationId="{54F01552-2209-74AC-F94B-EFA08B64F368}"/>
          </ac:picMkLst>
        </pc:picChg>
        <pc:picChg chg="add del mod">
          <ac:chgData name="nyvltmichael@gmail.com" userId="S::urn:spo:guest#nyvltmichael@gmail.com::" providerId="AD" clId="Web-{305000B3-EB1E-DFCB-ECE8-CE18488CF1D1}" dt="2023-09-01T02:22:36.589" v="1824"/>
          <ac:picMkLst>
            <pc:docMk/>
            <pc:sldMk cId="3651499539" sldId="337"/>
            <ac:picMk id="13" creationId="{3BB80697-7BD1-AA24-4024-A1995A527EAD}"/>
          </ac:picMkLst>
        </pc:picChg>
      </pc:sldChg>
    </pc:docChg>
  </pc:docChgLst>
  <pc:docChgLst>
    <pc:chgData name="ca.priyanka.bh@gmail.com" userId="S::urn:spo:guest#ca.priyanka.bh@gmail.com::" providerId="AD" clId="Web-{E0E88F06-C9B0-C219-5ECF-B267C5F29867}"/>
    <pc:docChg chg="modSld sldOrd">
      <pc:chgData name="ca.priyanka.bh@gmail.com" userId="S::urn:spo:guest#ca.priyanka.bh@gmail.com::" providerId="AD" clId="Web-{E0E88F06-C9B0-C219-5ECF-B267C5F29867}" dt="2023-08-30T05:14:37.407" v="10" actId="14100"/>
      <pc:docMkLst>
        <pc:docMk/>
      </pc:docMkLst>
      <pc:sldChg chg="addSp delSp modSp ord">
        <pc:chgData name="ca.priyanka.bh@gmail.com" userId="S::urn:spo:guest#ca.priyanka.bh@gmail.com::" providerId="AD" clId="Web-{E0E88F06-C9B0-C219-5ECF-B267C5F29867}" dt="2023-08-30T05:14:37.407" v="10" actId="14100"/>
        <pc:sldMkLst>
          <pc:docMk/>
          <pc:sldMk cId="4186360193" sldId="265"/>
        </pc:sldMkLst>
        <pc:spChg chg="del">
          <ac:chgData name="ca.priyanka.bh@gmail.com" userId="S::urn:spo:guest#ca.priyanka.bh@gmail.com::" providerId="AD" clId="Web-{E0E88F06-C9B0-C219-5ECF-B267C5F29867}" dt="2023-08-30T05:13:44.624" v="4"/>
          <ac:spMkLst>
            <pc:docMk/>
            <pc:sldMk cId="4186360193" sldId="265"/>
            <ac:spMk id="3" creationId="{060C98DA-3F94-1135-2F12-08293A1DE3BC}"/>
          </ac:spMkLst>
        </pc:spChg>
        <pc:picChg chg="add mod ord">
          <ac:chgData name="ca.priyanka.bh@gmail.com" userId="S::urn:spo:guest#ca.priyanka.bh@gmail.com::" providerId="AD" clId="Web-{E0E88F06-C9B0-C219-5ECF-B267C5F29867}" dt="2023-08-30T05:14:37.407" v="10" actId="14100"/>
          <ac:picMkLst>
            <pc:docMk/>
            <pc:sldMk cId="4186360193" sldId="265"/>
            <ac:picMk id="5" creationId="{15A89CA5-B543-87B8-6D50-87694EEF29B7}"/>
          </ac:picMkLst>
        </pc:picChg>
      </pc:sldChg>
      <pc:sldChg chg="addSp delSp modSp">
        <pc:chgData name="ca.priyanka.bh@gmail.com" userId="S::urn:spo:guest#ca.priyanka.bh@gmail.com::" providerId="AD" clId="Web-{E0E88F06-C9B0-C219-5ECF-B267C5F29867}" dt="2023-08-30T05:13:11.639" v="3" actId="14100"/>
        <pc:sldMkLst>
          <pc:docMk/>
          <pc:sldMk cId="3272718270" sldId="266"/>
        </pc:sldMkLst>
        <pc:spChg chg="del">
          <ac:chgData name="ca.priyanka.bh@gmail.com" userId="S::urn:spo:guest#ca.priyanka.bh@gmail.com::" providerId="AD" clId="Web-{E0E88F06-C9B0-C219-5ECF-B267C5F29867}" dt="2023-08-30T05:13:03.373" v="0"/>
          <ac:spMkLst>
            <pc:docMk/>
            <pc:sldMk cId="3272718270" sldId="266"/>
            <ac:spMk id="3" creationId="{C04881C9-EAEC-81F0-C5FE-8C3A70C7486D}"/>
          </ac:spMkLst>
        </pc:spChg>
        <pc:picChg chg="add mod ord">
          <ac:chgData name="ca.priyanka.bh@gmail.com" userId="S::urn:spo:guest#ca.priyanka.bh@gmail.com::" providerId="AD" clId="Web-{E0E88F06-C9B0-C219-5ECF-B267C5F29867}" dt="2023-08-30T05:13:11.639" v="3" actId="14100"/>
          <ac:picMkLst>
            <pc:docMk/>
            <pc:sldMk cId="3272718270" sldId="266"/>
            <ac:picMk id="5" creationId="{87903FDF-4984-13E1-B345-8FF9A68FD61E}"/>
          </ac:picMkLst>
        </pc:picChg>
      </pc:sldChg>
    </pc:docChg>
  </pc:docChgLst>
  <pc:docChgLst>
    <pc:chgData name="ca.priyanka.bh@gmail.com" userId="S::urn:spo:guest#ca.priyanka.bh@gmail.com::" providerId="AD" clId="Web-{E3ED93A8-487F-56B5-3DF5-72F6074D6DE0}"/>
    <pc:docChg chg="addSld delSld modSld addMainMaster modSection">
      <pc:chgData name="ca.priyanka.bh@gmail.com" userId="S::urn:spo:guest#ca.priyanka.bh@gmail.com::" providerId="AD" clId="Web-{E3ED93A8-487F-56B5-3DF5-72F6074D6DE0}" dt="2023-08-31T20:45:55.873" v="47"/>
      <pc:docMkLst>
        <pc:docMk/>
      </pc:docMkLst>
      <pc:sldChg chg="del">
        <pc:chgData name="ca.priyanka.bh@gmail.com" userId="S::urn:spo:guest#ca.priyanka.bh@gmail.com::" providerId="AD" clId="Web-{E3ED93A8-487F-56B5-3DF5-72F6074D6DE0}" dt="2023-08-31T20:37:22.471" v="17"/>
        <pc:sldMkLst>
          <pc:docMk/>
          <pc:sldMk cId="4186360193" sldId="265"/>
        </pc:sldMkLst>
      </pc:sldChg>
      <pc:sldChg chg="delSp del">
        <pc:chgData name="ca.priyanka.bh@gmail.com" userId="S::urn:spo:guest#ca.priyanka.bh@gmail.com::" providerId="AD" clId="Web-{E3ED93A8-487F-56B5-3DF5-72F6074D6DE0}" dt="2023-08-31T20:35:38.813" v="3"/>
        <pc:sldMkLst>
          <pc:docMk/>
          <pc:sldMk cId="3272718270" sldId="266"/>
        </pc:sldMkLst>
        <pc:spChg chg="del">
          <ac:chgData name="ca.priyanka.bh@gmail.com" userId="S::urn:spo:guest#ca.priyanka.bh@gmail.com::" providerId="AD" clId="Web-{E3ED93A8-487F-56B5-3DF5-72F6074D6DE0}" dt="2023-08-31T20:35:36.047" v="2"/>
          <ac:spMkLst>
            <pc:docMk/>
            <pc:sldMk cId="3272718270" sldId="266"/>
            <ac:spMk id="6" creationId="{628E8ABA-CBF2-FF5E-678E-E3E59953F3C2}"/>
          </ac:spMkLst>
        </pc:spChg>
      </pc:sldChg>
      <pc:sldChg chg="del">
        <pc:chgData name="ca.priyanka.bh@gmail.com" userId="S::urn:spo:guest#ca.priyanka.bh@gmail.com::" providerId="AD" clId="Web-{E3ED93A8-487F-56B5-3DF5-72F6074D6DE0}" dt="2023-08-31T20:43:23.213" v="42"/>
        <pc:sldMkLst>
          <pc:docMk/>
          <pc:sldMk cId="2210099988" sldId="284"/>
        </pc:sldMkLst>
      </pc:sldChg>
      <pc:sldChg chg="addSp delSp modSp del">
        <pc:chgData name="ca.priyanka.bh@gmail.com" userId="S::urn:spo:guest#ca.priyanka.bh@gmail.com::" providerId="AD" clId="Web-{E3ED93A8-487F-56B5-3DF5-72F6074D6DE0}" dt="2023-08-31T20:43:17.619" v="41"/>
        <pc:sldMkLst>
          <pc:docMk/>
          <pc:sldMk cId="3953902710" sldId="288"/>
        </pc:sldMkLst>
        <pc:spChg chg="del">
          <ac:chgData name="ca.priyanka.bh@gmail.com" userId="S::urn:spo:guest#ca.priyanka.bh@gmail.com::" providerId="AD" clId="Web-{E3ED93A8-487F-56B5-3DF5-72F6074D6DE0}" dt="2023-08-31T20:42:28.508" v="39"/>
          <ac:spMkLst>
            <pc:docMk/>
            <pc:sldMk cId="3953902710" sldId="288"/>
            <ac:spMk id="3" creationId="{19202440-BBCC-D71C-7826-E0FF70E75D29}"/>
          </ac:spMkLst>
        </pc:spChg>
        <pc:spChg chg="add mod">
          <ac:chgData name="ca.priyanka.bh@gmail.com" userId="S::urn:spo:guest#ca.priyanka.bh@gmail.com::" providerId="AD" clId="Web-{E3ED93A8-487F-56B5-3DF5-72F6074D6DE0}" dt="2023-08-31T20:42:28.508" v="39"/>
          <ac:spMkLst>
            <pc:docMk/>
            <pc:sldMk cId="3953902710" sldId="288"/>
            <ac:spMk id="6" creationId="{CCE7F54D-EC9D-59A6-B79D-180ACF39ACAB}"/>
          </ac:spMkLst>
        </pc:spChg>
      </pc:sldChg>
      <pc:sldChg chg="del">
        <pc:chgData name="ca.priyanka.bh@gmail.com" userId="S::urn:spo:guest#ca.priyanka.bh@gmail.com::" providerId="AD" clId="Web-{E3ED93A8-487F-56B5-3DF5-72F6074D6DE0}" dt="2023-08-31T20:42:38.368" v="40"/>
        <pc:sldMkLst>
          <pc:docMk/>
          <pc:sldMk cId="1617934547" sldId="306"/>
        </pc:sldMkLst>
      </pc:sldChg>
      <pc:sldChg chg="addSp delSp modSp new del">
        <pc:chgData name="ca.priyanka.bh@gmail.com" userId="S::urn:spo:guest#ca.priyanka.bh@gmail.com::" providerId="AD" clId="Web-{E3ED93A8-487F-56B5-3DF5-72F6074D6DE0}" dt="2023-08-31T20:45:55.873" v="47"/>
        <pc:sldMkLst>
          <pc:docMk/>
          <pc:sldMk cId="765238459" sldId="331"/>
        </pc:sldMkLst>
        <pc:spChg chg="mod">
          <ac:chgData name="ca.priyanka.bh@gmail.com" userId="S::urn:spo:guest#ca.priyanka.bh@gmail.com::" providerId="AD" clId="Web-{E3ED93A8-487F-56B5-3DF5-72F6074D6DE0}" dt="2023-08-31T20:37:49.159" v="30" actId="20577"/>
          <ac:spMkLst>
            <pc:docMk/>
            <pc:sldMk cId="765238459" sldId="331"/>
            <ac:spMk id="2" creationId="{FEE56D69-3033-0B1C-4D93-A73A734E41B3}"/>
          </ac:spMkLst>
        </pc:spChg>
        <pc:spChg chg="del">
          <ac:chgData name="ca.priyanka.bh@gmail.com" userId="S::urn:spo:guest#ca.priyanka.bh@gmail.com::" providerId="AD" clId="Web-{E3ED93A8-487F-56B5-3DF5-72F6074D6DE0}" dt="2023-08-31T20:35:23.140" v="1"/>
          <ac:spMkLst>
            <pc:docMk/>
            <pc:sldMk cId="765238459" sldId="331"/>
            <ac:spMk id="3" creationId="{6E62640E-3E62-48BD-6254-A057DC4A4389}"/>
          </ac:spMkLst>
        </pc:spChg>
        <pc:spChg chg="add del mod">
          <ac:chgData name="ca.priyanka.bh@gmail.com" userId="S::urn:spo:guest#ca.priyanka.bh@gmail.com::" providerId="AD" clId="Web-{E3ED93A8-487F-56B5-3DF5-72F6074D6DE0}" dt="2023-08-31T20:36:30.657" v="9"/>
          <ac:spMkLst>
            <pc:docMk/>
            <pc:sldMk cId="765238459" sldId="331"/>
            <ac:spMk id="6" creationId="{1A3994AE-0239-F385-2174-300EDD3A7DAC}"/>
          </ac:spMkLst>
        </pc:spChg>
        <pc:picChg chg="add del mod ord">
          <ac:chgData name="ca.priyanka.bh@gmail.com" userId="S::urn:spo:guest#ca.priyanka.bh@gmail.com::" providerId="AD" clId="Web-{E3ED93A8-487F-56B5-3DF5-72F6074D6DE0}" dt="2023-08-31T20:35:56.329" v="8"/>
          <ac:picMkLst>
            <pc:docMk/>
            <pc:sldMk cId="765238459" sldId="331"/>
            <ac:picMk id="4" creationId="{008F487E-FE2B-343A-968C-68818159B7F7}"/>
          </ac:picMkLst>
        </pc:picChg>
        <pc:picChg chg="add del mod">
          <ac:chgData name="ca.priyanka.bh@gmail.com" userId="S::urn:spo:guest#ca.priyanka.bh@gmail.com::" providerId="AD" clId="Web-{E3ED93A8-487F-56B5-3DF5-72F6074D6DE0}" dt="2023-08-31T20:41:25.241" v="31"/>
          <ac:picMkLst>
            <pc:docMk/>
            <pc:sldMk cId="765238459" sldId="331"/>
            <ac:picMk id="7" creationId="{CE678F25-524D-B7AB-7D18-56B8EF9E419C}"/>
          </ac:picMkLst>
        </pc:picChg>
        <pc:picChg chg="add mod">
          <ac:chgData name="ca.priyanka.bh@gmail.com" userId="S::urn:spo:guest#ca.priyanka.bh@gmail.com::" providerId="AD" clId="Web-{E3ED93A8-487F-56B5-3DF5-72F6074D6DE0}" dt="2023-08-31T20:41:51.851" v="38" actId="14100"/>
          <ac:picMkLst>
            <pc:docMk/>
            <pc:sldMk cId="765238459" sldId="331"/>
            <ac:picMk id="8" creationId="{98F47146-1B5E-DE2C-B060-C9F5130EB50D}"/>
          </ac:picMkLst>
        </pc:picChg>
      </pc:sldChg>
      <pc:sldChg chg="add">
        <pc:chgData name="ca.priyanka.bh@gmail.com" userId="S::urn:spo:guest#ca.priyanka.bh@gmail.com::" providerId="AD" clId="Web-{E3ED93A8-487F-56B5-3DF5-72F6074D6DE0}" dt="2023-08-31T20:45:44.091" v="43"/>
        <pc:sldMkLst>
          <pc:docMk/>
          <pc:sldMk cId="2427774306" sldId="332"/>
        </pc:sldMkLst>
      </pc:sldChg>
      <pc:sldChg chg="add">
        <pc:chgData name="ca.priyanka.bh@gmail.com" userId="S::urn:spo:guest#ca.priyanka.bh@gmail.com::" providerId="AD" clId="Web-{E3ED93A8-487F-56B5-3DF5-72F6074D6DE0}" dt="2023-08-31T20:45:44.154" v="44"/>
        <pc:sldMkLst>
          <pc:docMk/>
          <pc:sldMk cId="228706509" sldId="333"/>
        </pc:sldMkLst>
      </pc:sldChg>
      <pc:sldChg chg="add">
        <pc:chgData name="ca.priyanka.bh@gmail.com" userId="S::urn:spo:guest#ca.priyanka.bh@gmail.com::" providerId="AD" clId="Web-{E3ED93A8-487F-56B5-3DF5-72F6074D6DE0}" dt="2023-08-31T20:45:44.216" v="45"/>
        <pc:sldMkLst>
          <pc:docMk/>
          <pc:sldMk cId="2229906648" sldId="334"/>
        </pc:sldMkLst>
      </pc:sldChg>
      <pc:sldChg chg="add">
        <pc:chgData name="ca.priyanka.bh@gmail.com" userId="S::urn:spo:guest#ca.priyanka.bh@gmail.com::" providerId="AD" clId="Web-{E3ED93A8-487F-56B5-3DF5-72F6074D6DE0}" dt="2023-08-31T20:45:44.294" v="46"/>
        <pc:sldMkLst>
          <pc:docMk/>
          <pc:sldMk cId="1610706451" sldId="335"/>
        </pc:sldMkLst>
      </pc:sldChg>
      <pc:sldMasterChg chg="add addSldLayout">
        <pc:chgData name="ca.priyanka.bh@gmail.com" userId="S::urn:spo:guest#ca.priyanka.bh@gmail.com::" providerId="AD" clId="Web-{E3ED93A8-487F-56B5-3DF5-72F6074D6DE0}" dt="2023-08-31T20:45:44.091" v="43"/>
        <pc:sldMasterMkLst>
          <pc:docMk/>
          <pc:sldMasterMk cId="1255613337" sldId="2147483776"/>
        </pc:sldMasterMkLst>
        <pc:sldLayoutChg chg="add">
          <pc:chgData name="ca.priyanka.bh@gmail.com" userId="S::urn:spo:guest#ca.priyanka.bh@gmail.com::" providerId="AD" clId="Web-{E3ED93A8-487F-56B5-3DF5-72F6074D6DE0}" dt="2023-08-31T20:45:44.091" v="43"/>
          <pc:sldLayoutMkLst>
            <pc:docMk/>
            <pc:sldMasterMk cId="1255613337" sldId="2147483776"/>
            <pc:sldLayoutMk cId="1328025864" sldId="2147483777"/>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1650926966" sldId="2147483778"/>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1792512534" sldId="2147483779"/>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2452916933" sldId="2147483780"/>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1983575050" sldId="2147483781"/>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484231045" sldId="2147483782"/>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3186507295" sldId="2147483783"/>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3712353464" sldId="2147483784"/>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259943520" sldId="2147483785"/>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2182128021" sldId="2147483786"/>
          </pc:sldLayoutMkLst>
        </pc:sldLayoutChg>
        <pc:sldLayoutChg chg="add">
          <pc:chgData name="ca.priyanka.bh@gmail.com" userId="S::urn:spo:guest#ca.priyanka.bh@gmail.com::" providerId="AD" clId="Web-{E3ED93A8-487F-56B5-3DF5-72F6074D6DE0}" dt="2023-08-31T20:45:44.091" v="43"/>
          <pc:sldLayoutMkLst>
            <pc:docMk/>
            <pc:sldMasterMk cId="1255613337" sldId="2147483776"/>
            <pc:sldLayoutMk cId="3365798228" sldId="2147483787"/>
          </pc:sldLayoutMkLst>
        </pc:sldLayoutChg>
      </pc:sldMasterChg>
    </pc:docChg>
  </pc:docChgLst>
  <pc:docChgLst>
    <pc:chgData name="ca.priyanka.bh@gmail.com" userId="S::urn:spo:guest#ca.priyanka.bh@gmail.com::" providerId="AD" clId="Web-{D70BA118-B3E5-9EFD-AA25-61A96818E015}"/>
    <pc:docChg chg="addSld delSld modSld addMainMaster modSection">
      <pc:chgData name="ca.priyanka.bh@gmail.com" userId="S::urn:spo:guest#ca.priyanka.bh@gmail.com::" providerId="AD" clId="Web-{D70BA118-B3E5-9EFD-AA25-61A96818E015}" dt="2023-08-31T07:00:29.398" v="81"/>
      <pc:docMkLst>
        <pc:docMk/>
      </pc:docMkLst>
      <pc:sldChg chg="new del">
        <pc:chgData name="ca.priyanka.bh@gmail.com" userId="S::urn:spo:guest#ca.priyanka.bh@gmail.com::" providerId="AD" clId="Web-{D70BA118-B3E5-9EFD-AA25-61A96818E015}" dt="2023-08-31T06:55:53.893" v="2"/>
        <pc:sldMkLst>
          <pc:docMk/>
          <pc:sldMk cId="419220888" sldId="301"/>
        </pc:sldMkLst>
      </pc:sldChg>
      <pc:sldChg chg="add">
        <pc:chgData name="ca.priyanka.bh@gmail.com" userId="S::urn:spo:guest#ca.priyanka.bh@gmail.com::" providerId="AD" clId="Web-{D70BA118-B3E5-9EFD-AA25-61A96818E015}" dt="2023-08-31T06:55:46.768" v="1"/>
        <pc:sldMkLst>
          <pc:docMk/>
          <pc:sldMk cId="2237058398" sldId="302"/>
        </pc:sldMkLst>
      </pc:sldChg>
      <pc:sldChg chg="addSp delSp modSp new">
        <pc:chgData name="ca.priyanka.bh@gmail.com" userId="S::urn:spo:guest#ca.priyanka.bh@gmail.com::" providerId="AD" clId="Web-{D70BA118-B3E5-9EFD-AA25-61A96818E015}" dt="2023-08-31T07:00:29.398" v="81"/>
        <pc:sldMkLst>
          <pc:docMk/>
          <pc:sldMk cId="1617934547" sldId="306"/>
        </pc:sldMkLst>
        <pc:spChg chg="mod">
          <ac:chgData name="ca.priyanka.bh@gmail.com" userId="S::urn:spo:guest#ca.priyanka.bh@gmail.com::" providerId="AD" clId="Web-{D70BA118-B3E5-9EFD-AA25-61A96818E015}" dt="2023-08-31T06:58:16.763" v="54" actId="20577"/>
          <ac:spMkLst>
            <pc:docMk/>
            <pc:sldMk cId="1617934547" sldId="306"/>
            <ac:spMk id="2" creationId="{BDE91C70-7E1F-4A4D-43C8-2BF50BA41C73}"/>
          </ac:spMkLst>
        </pc:spChg>
        <pc:spChg chg="del">
          <ac:chgData name="ca.priyanka.bh@gmail.com" userId="S::urn:spo:guest#ca.priyanka.bh@gmail.com::" providerId="AD" clId="Web-{D70BA118-B3E5-9EFD-AA25-61A96818E015}" dt="2023-08-31T06:56:46.600" v="4"/>
          <ac:spMkLst>
            <pc:docMk/>
            <pc:sldMk cId="1617934547" sldId="306"/>
            <ac:spMk id="3" creationId="{535BFC98-9463-D685-8D66-321F2832D64B}"/>
          </ac:spMkLst>
        </pc:spChg>
        <pc:spChg chg="add del mod">
          <ac:chgData name="ca.priyanka.bh@gmail.com" userId="S::urn:spo:guest#ca.priyanka.bh@gmail.com::" providerId="AD" clId="Web-{D70BA118-B3E5-9EFD-AA25-61A96818E015}" dt="2023-08-31T06:59:38.722" v="68"/>
          <ac:spMkLst>
            <pc:docMk/>
            <pc:sldMk cId="1617934547" sldId="306"/>
            <ac:spMk id="6" creationId="{1747FB18-9F7F-34B1-3DF3-E120A5929CD8}"/>
          </ac:spMkLst>
        </pc:spChg>
        <pc:picChg chg="add del mod ord">
          <ac:chgData name="ca.priyanka.bh@gmail.com" userId="S::urn:spo:guest#ca.priyanka.bh@gmail.com::" providerId="AD" clId="Web-{D70BA118-B3E5-9EFD-AA25-61A96818E015}" dt="2023-08-31T06:58:39.452" v="55"/>
          <ac:picMkLst>
            <pc:docMk/>
            <pc:sldMk cId="1617934547" sldId="306"/>
            <ac:picMk id="4" creationId="{CEBA0C09-A047-5B59-0169-189E488160E5}"/>
          </ac:picMkLst>
        </pc:picChg>
        <pc:picChg chg="add mod ord">
          <ac:chgData name="ca.priyanka.bh@gmail.com" userId="S::urn:spo:guest#ca.priyanka.bh@gmail.com::" providerId="AD" clId="Web-{D70BA118-B3E5-9EFD-AA25-61A96818E015}" dt="2023-08-31T07:00:24.913" v="79" actId="1076"/>
          <ac:picMkLst>
            <pc:docMk/>
            <pc:sldMk cId="1617934547" sldId="306"/>
            <ac:picMk id="7" creationId="{BC7562DB-92CB-9642-A8C4-3B34B1DDF3E3}"/>
          </ac:picMkLst>
        </pc:picChg>
        <pc:picChg chg="add del mod">
          <ac:chgData name="ca.priyanka.bh@gmail.com" userId="S::urn:spo:guest#ca.priyanka.bh@gmail.com::" providerId="AD" clId="Web-{D70BA118-B3E5-9EFD-AA25-61A96818E015}" dt="2023-08-31T07:00:29.398" v="81"/>
          <ac:picMkLst>
            <pc:docMk/>
            <pc:sldMk cId="1617934547" sldId="306"/>
            <ac:picMk id="8" creationId="{48C195F4-C0FC-9848-D725-FD840CA2BD4B}"/>
          </ac:picMkLst>
        </pc:picChg>
      </pc:sldChg>
      <pc:sldChg chg="add del replId">
        <pc:chgData name="ca.priyanka.bh@gmail.com" userId="S::urn:spo:guest#ca.priyanka.bh@gmail.com::" providerId="AD" clId="Web-{D70BA118-B3E5-9EFD-AA25-61A96818E015}" dt="2023-08-31T06:59:07.095" v="67"/>
        <pc:sldMkLst>
          <pc:docMk/>
          <pc:sldMk cId="4199484270" sldId="307"/>
        </pc:sldMkLst>
      </pc:sldChg>
      <pc:sldChg chg="modSp add del replId">
        <pc:chgData name="ca.priyanka.bh@gmail.com" userId="S::urn:spo:guest#ca.priyanka.bh@gmail.com::" providerId="AD" clId="Web-{D70BA118-B3E5-9EFD-AA25-61A96818E015}" dt="2023-08-31T06:59:04.923" v="66"/>
        <pc:sldMkLst>
          <pc:docMk/>
          <pc:sldMk cId="2762044882" sldId="308"/>
        </pc:sldMkLst>
        <pc:spChg chg="mod">
          <ac:chgData name="ca.priyanka.bh@gmail.com" userId="S::urn:spo:guest#ca.priyanka.bh@gmail.com::" providerId="AD" clId="Web-{D70BA118-B3E5-9EFD-AA25-61A96818E015}" dt="2023-08-31T06:58:54.953" v="65" actId="20577"/>
          <ac:spMkLst>
            <pc:docMk/>
            <pc:sldMk cId="2762044882" sldId="308"/>
            <ac:spMk id="6" creationId="{1747FB18-9F7F-34B1-3DF3-E120A5929CD8}"/>
          </ac:spMkLst>
        </pc:spChg>
      </pc:sldChg>
      <pc:sldMasterChg chg="add addSldLayout">
        <pc:chgData name="ca.priyanka.bh@gmail.com" userId="S::urn:spo:guest#ca.priyanka.bh@gmail.com::" providerId="AD" clId="Web-{D70BA118-B3E5-9EFD-AA25-61A96818E015}" dt="2023-08-31T06:55:46.768" v="1"/>
        <pc:sldMasterMkLst>
          <pc:docMk/>
          <pc:sldMasterMk cId="1255613337" sldId="2147483775"/>
        </pc:sldMasterMkLst>
        <pc:sldLayoutChg chg="add">
          <pc:chgData name="ca.priyanka.bh@gmail.com" userId="S::urn:spo:guest#ca.priyanka.bh@gmail.com::" providerId="AD" clId="Web-{D70BA118-B3E5-9EFD-AA25-61A96818E015}" dt="2023-08-31T06:55:46.768" v="1"/>
          <pc:sldLayoutMkLst>
            <pc:docMk/>
            <pc:sldMasterMk cId="1255613337" sldId="2147483775"/>
            <pc:sldLayoutMk cId="3186507295" sldId="2147483764"/>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3712353464" sldId="2147483765"/>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259943520" sldId="2147483766"/>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2182128021" sldId="2147483767"/>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484231045" sldId="2147483768"/>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3365798228" sldId="2147483769"/>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1328025864" sldId="2147483770"/>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1650926966" sldId="2147483771"/>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1792512534" sldId="2147483772"/>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2452916933" sldId="2147483773"/>
          </pc:sldLayoutMkLst>
        </pc:sldLayoutChg>
        <pc:sldLayoutChg chg="add">
          <pc:chgData name="ca.priyanka.bh@gmail.com" userId="S::urn:spo:guest#ca.priyanka.bh@gmail.com::" providerId="AD" clId="Web-{D70BA118-B3E5-9EFD-AA25-61A96818E015}" dt="2023-08-31T06:55:46.768" v="1"/>
          <pc:sldLayoutMkLst>
            <pc:docMk/>
            <pc:sldMasterMk cId="1255613337" sldId="2147483775"/>
            <pc:sldLayoutMk cId="1983575050" sldId="2147483774"/>
          </pc:sldLayoutMkLst>
        </pc:sldLayoutChg>
      </pc:sldMasterChg>
    </pc:docChg>
  </pc:docChgLst>
  <pc:docChgLst>
    <pc:chgData name="ca.priyanka.bh@gmail.com" userId="S::urn:spo:guest#ca.priyanka.bh@gmail.com::" providerId="AD" clId="Web-{FA46BC4D-0A20-8FE0-2A47-ADA5FE0C50E1}"/>
    <pc:docChg chg="modSld">
      <pc:chgData name="ca.priyanka.bh@gmail.com" userId="S::urn:spo:guest#ca.priyanka.bh@gmail.com::" providerId="AD" clId="Web-{FA46BC4D-0A20-8FE0-2A47-ADA5FE0C50E1}" dt="2023-09-01T04:09:56.236" v="74" actId="1076"/>
      <pc:docMkLst>
        <pc:docMk/>
      </pc:docMkLst>
      <pc:sldChg chg="modSp">
        <pc:chgData name="ca.priyanka.bh@gmail.com" userId="S::urn:spo:guest#ca.priyanka.bh@gmail.com::" providerId="AD" clId="Web-{FA46BC4D-0A20-8FE0-2A47-ADA5FE0C50E1}" dt="2023-09-01T04:04:14.962" v="27" actId="20577"/>
        <pc:sldMkLst>
          <pc:docMk/>
          <pc:sldMk cId="3793799286" sldId="309"/>
        </pc:sldMkLst>
        <pc:spChg chg="mod">
          <ac:chgData name="ca.priyanka.bh@gmail.com" userId="S::urn:spo:guest#ca.priyanka.bh@gmail.com::" providerId="AD" clId="Web-{FA46BC4D-0A20-8FE0-2A47-ADA5FE0C50E1}" dt="2023-09-01T04:04:14.962" v="27" actId="20577"/>
          <ac:spMkLst>
            <pc:docMk/>
            <pc:sldMk cId="3793799286" sldId="309"/>
            <ac:spMk id="301" creationId="{9EF14CCA-868D-8F02-BECD-BFD20B06E6AC}"/>
          </ac:spMkLst>
        </pc:spChg>
      </pc:sldChg>
      <pc:sldChg chg="addSp delSp modSp">
        <pc:chgData name="ca.priyanka.bh@gmail.com" userId="S::urn:spo:guest#ca.priyanka.bh@gmail.com::" providerId="AD" clId="Web-{FA46BC4D-0A20-8FE0-2A47-ADA5FE0C50E1}" dt="2023-09-01T04:00:08.971" v="13" actId="14100"/>
        <pc:sldMkLst>
          <pc:docMk/>
          <pc:sldMk cId="734423579" sldId="332"/>
        </pc:sldMkLst>
        <pc:picChg chg="mod">
          <ac:chgData name="ca.priyanka.bh@gmail.com" userId="S::urn:spo:guest#ca.priyanka.bh@gmail.com::" providerId="AD" clId="Web-{FA46BC4D-0A20-8FE0-2A47-ADA5FE0C50E1}" dt="2023-09-01T03:51:50.709" v="3" actId="14100"/>
          <ac:picMkLst>
            <pc:docMk/>
            <pc:sldMk cId="734423579" sldId="332"/>
            <ac:picMk id="3" creationId="{341332B4-4F1F-BC05-819B-2D0523437B6B}"/>
          </ac:picMkLst>
        </pc:picChg>
        <pc:picChg chg="mod">
          <ac:chgData name="ca.priyanka.bh@gmail.com" userId="S::urn:spo:guest#ca.priyanka.bh@gmail.com::" providerId="AD" clId="Web-{FA46BC4D-0A20-8FE0-2A47-ADA5FE0C50E1}" dt="2023-09-01T03:51:45.256" v="2" actId="14100"/>
          <ac:picMkLst>
            <pc:docMk/>
            <pc:sldMk cId="734423579" sldId="332"/>
            <ac:picMk id="4" creationId="{59B9ED6B-4ABA-4A92-6608-808F261B376B}"/>
          </ac:picMkLst>
        </pc:picChg>
        <pc:picChg chg="add del mod">
          <ac:chgData name="ca.priyanka.bh@gmail.com" userId="S::urn:spo:guest#ca.priyanka.bh@gmail.com::" providerId="AD" clId="Web-{FA46BC4D-0A20-8FE0-2A47-ADA5FE0C50E1}" dt="2023-09-01T03:59:47.783" v="7"/>
          <ac:picMkLst>
            <pc:docMk/>
            <pc:sldMk cId="734423579" sldId="332"/>
            <ac:picMk id="5" creationId="{36A8F203-32C1-F933-4DC4-08E0F1112678}"/>
          </ac:picMkLst>
        </pc:picChg>
        <pc:picChg chg="add mod">
          <ac:chgData name="ca.priyanka.bh@gmail.com" userId="S::urn:spo:guest#ca.priyanka.bh@gmail.com::" providerId="AD" clId="Web-{FA46BC4D-0A20-8FE0-2A47-ADA5FE0C50E1}" dt="2023-09-01T04:00:08.971" v="13" actId="14100"/>
          <ac:picMkLst>
            <pc:docMk/>
            <pc:sldMk cId="734423579" sldId="332"/>
            <ac:picMk id="6" creationId="{D7310F03-374E-515A-2BDF-F88A4B4F50D0}"/>
          </ac:picMkLst>
        </pc:picChg>
      </pc:sldChg>
      <pc:sldChg chg="addSp modSp">
        <pc:chgData name="ca.priyanka.bh@gmail.com" userId="S::urn:spo:guest#ca.priyanka.bh@gmail.com::" providerId="AD" clId="Web-{FA46BC4D-0A20-8FE0-2A47-ADA5FE0C50E1}" dt="2023-09-01T04:09:56.236" v="74" actId="1076"/>
        <pc:sldMkLst>
          <pc:docMk/>
          <pc:sldMk cId="2319001904" sldId="347"/>
        </pc:sldMkLst>
        <pc:spChg chg="add mod">
          <ac:chgData name="ca.priyanka.bh@gmail.com" userId="S::urn:spo:guest#ca.priyanka.bh@gmail.com::" providerId="AD" clId="Web-{FA46BC4D-0A20-8FE0-2A47-ADA5FE0C50E1}" dt="2023-09-01T04:09:56.236" v="74" actId="1076"/>
          <ac:spMkLst>
            <pc:docMk/>
            <pc:sldMk cId="2319001904" sldId="347"/>
            <ac:spMk id="4" creationId="{B6715306-4EC9-A2FA-1E7F-9BA3673CB827}"/>
          </ac:spMkLst>
        </pc:spChg>
        <pc:picChg chg="mod modCrop">
          <ac:chgData name="ca.priyanka.bh@gmail.com" userId="S::urn:spo:guest#ca.priyanka.bh@gmail.com::" providerId="AD" clId="Web-{FA46BC4D-0A20-8FE0-2A47-ADA5FE0C50E1}" dt="2023-09-01T04:09:43.970" v="70" actId="1076"/>
          <ac:picMkLst>
            <pc:docMk/>
            <pc:sldMk cId="2319001904" sldId="347"/>
            <ac:picMk id="3" creationId="{9E145600-DDB4-C40A-428C-D89839DA1CC5}"/>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135_E220C87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138_6FDBFAE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148_C98E258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13C_D3B42BFD.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95275009228498E-2"/>
          <c:y val="4.399057344854674E-2"/>
          <c:w val="0.96160944998154296"/>
          <c:h val="0.93558523173605657"/>
        </c:manualLayout>
      </c:layout>
      <c:barChart>
        <c:barDir val="col"/>
        <c:grouping val="stacked"/>
        <c:varyColors val="0"/>
        <c:ser>
          <c:idx val="0"/>
          <c:order val="0"/>
          <c:spPr>
            <a:solidFill>
              <a:srgbClr val="203864"/>
            </a:solidFill>
            <a:ln>
              <a:noFill/>
            </a:ln>
          </c:spPr>
          <c:invertIfNegative val="0"/>
          <c:dLbls>
            <c:dLbl>
              <c:idx val="0"/>
              <c:layout>
                <c:manualLayout>
                  <c:x val="0"/>
                  <c:y val="-0.489787902592301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BC-444A-A0B2-57D7081F6BFA}"/>
                </c:ext>
              </c:extLst>
            </c:dLbl>
            <c:dLbl>
              <c:idx val="2"/>
              <c:layout>
                <c:manualLayout>
                  <c:x val="0"/>
                  <c:y val="-0.11311861743912019"/>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BC-444A-A0B2-57D7081F6BFA}"/>
                </c:ext>
              </c:extLst>
            </c:dLbl>
            <c:dLbl>
              <c:idx val="3"/>
              <c:layout>
                <c:manualLayout>
                  <c:x val="0"/>
                  <c:y val="-7.9732914375490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BC-444A-A0B2-57D7081F6BFA}"/>
                </c:ext>
              </c:extLst>
            </c:dLbl>
            <c:dLbl>
              <c:idx val="4"/>
              <c:layout>
                <c:manualLayout>
                  <c:x val="0"/>
                  <c:y val="-6.08798114689709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BC-444A-A0B2-57D7081F6BFA}"/>
                </c:ext>
              </c:extLst>
            </c:dLbl>
            <c:dLbl>
              <c:idx val="5"/>
              <c:layout>
                <c:manualLayout>
                  <c:x val="0"/>
                  <c:y val="-5.066771406127258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BC-444A-A0B2-57D7081F6BFA}"/>
                </c:ext>
              </c:extLst>
            </c:dLbl>
            <c:dLbl>
              <c:idx val="6"/>
              <c:layout>
                <c:manualLayout>
                  <c:x val="0"/>
                  <c:y val="-5.380989787902592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BC-444A-A0B2-57D7081F6BFA}"/>
                </c:ext>
              </c:extLst>
            </c:dLbl>
            <c:dLbl>
              <c:idx val="8"/>
              <c:layout>
                <c:manualLayout>
                  <c:x val="0"/>
                  <c:y val="-0.2698350353495679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BC-444A-A0B2-57D7081F6B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38.3</c:v>
                </c:pt>
                <c:pt idx="1">
                  <c:v>134.4</c:v>
                </c:pt>
                <c:pt idx="2">
                  <c:v>64.5</c:v>
                </c:pt>
                <c:pt idx="3">
                  <c:v>40.1</c:v>
                </c:pt>
                <c:pt idx="4">
                  <c:v>26.6</c:v>
                </c:pt>
                <c:pt idx="5">
                  <c:v>19.100000000000001</c:v>
                </c:pt>
                <c:pt idx="6">
                  <c:v>21.6</c:v>
                </c:pt>
                <c:pt idx="7">
                  <c:v>14.3</c:v>
                </c:pt>
                <c:pt idx="8">
                  <c:v>178.6</c:v>
                </c:pt>
              </c:numCache>
            </c:numRef>
          </c:val>
          <c:extLst>
            <c:ext xmlns:c16="http://schemas.microsoft.com/office/drawing/2014/chart" uri="{C3380CC4-5D6E-409C-BE32-E72D297353CC}">
              <c16:uniqueId val="{00000007-46BC-444A-A0B2-57D7081F6BFA}"/>
            </c:ext>
          </c:extLst>
        </c:ser>
        <c:dLbls>
          <c:showLegendKey val="0"/>
          <c:showVal val="0"/>
          <c:showCatName val="0"/>
          <c:showSerName val="0"/>
          <c:showPercent val="0"/>
          <c:showBubbleSize val="0"/>
        </c:dLbls>
        <c:gapWidth val="80"/>
        <c:overlap val="100"/>
        <c:axId val="585205823"/>
        <c:axId val="1"/>
      </c:barChart>
      <c:catAx>
        <c:axId val="58520582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34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585205823"/>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66147859922183E-2"/>
          <c:y val="7.7874818049490535E-2"/>
          <c:w val="0.86186770428015569"/>
          <c:h val="0.71906841339155747"/>
        </c:manualLayout>
      </c:layout>
      <c:scatterChart>
        <c:scatterStyle val="lineMarker"/>
        <c:varyColors val="0"/>
        <c:ser>
          <c:idx val="0"/>
          <c:order val="0"/>
          <c:spPr>
            <a:ln w="28575" cmpd="sng" algn="ctr">
              <a:solidFill>
                <a:srgbClr val="203864"/>
              </a:solidFill>
              <a:prstDash val="solid"/>
            </a:ln>
          </c:spPr>
          <c:marker>
            <c:symbol val="none"/>
          </c:marker>
          <c:dLbls>
            <c:dLbl>
              <c:idx val="4"/>
              <c:layout>
                <c:manualLayout>
                  <c:x val="0"/>
                  <c:y val="-6.550218340611353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37-4635-8346-F5A18C9BC5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254303</c:v>
                </c:pt>
                <c:pt idx="1">
                  <c:v>272667</c:v>
                </c:pt>
                <c:pt idx="2">
                  <c:v>295882</c:v>
                </c:pt>
                <c:pt idx="3">
                  <c:v>337938</c:v>
                </c:pt>
                <c:pt idx="4">
                  <c:v>378197</c:v>
                </c:pt>
              </c:numCache>
            </c:numRef>
          </c:yVal>
          <c:smooth val="0"/>
          <c:extLst>
            <c:ext xmlns:c16="http://schemas.microsoft.com/office/drawing/2014/chart" uri="{C3380CC4-5D6E-409C-BE32-E72D297353CC}">
              <c16:uniqueId val="{00000001-C137-4635-8346-F5A18C9BC5D0}"/>
            </c:ext>
          </c:extLst>
        </c:ser>
        <c:ser>
          <c:idx val="1"/>
          <c:order val="1"/>
          <c:spPr>
            <a:ln w="28575" cmpd="sng" algn="ctr">
              <a:solidFill>
                <a:srgbClr val="00ABAB"/>
              </a:solidFill>
              <a:prstDash val="solid"/>
            </a:ln>
          </c:spPr>
          <c:marker>
            <c:symbol val="none"/>
          </c:marker>
          <c:dLbls>
            <c:dLbl>
              <c:idx val="4"/>
              <c:layout>
                <c:manualLayout>
                  <c:x val="0"/>
                  <c:y val="-6.550218340611353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37-4635-8346-F5A18C9BC5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300333</c:v>
                </c:pt>
                <c:pt idx="1">
                  <c:v>292524</c:v>
                </c:pt>
                <c:pt idx="2">
                  <c:v>287874</c:v>
                </c:pt>
                <c:pt idx="3">
                  <c:v>285274</c:v>
                </c:pt>
                <c:pt idx="4">
                  <c:v>251585</c:v>
                </c:pt>
              </c:numCache>
            </c:numRef>
          </c:yVal>
          <c:smooth val="0"/>
          <c:extLst>
            <c:ext xmlns:c16="http://schemas.microsoft.com/office/drawing/2014/chart" uri="{C3380CC4-5D6E-409C-BE32-E72D297353CC}">
              <c16:uniqueId val="{00000003-C137-4635-8346-F5A18C9BC5D0}"/>
            </c:ext>
          </c:extLst>
        </c:ser>
        <c:ser>
          <c:idx val="2"/>
          <c:order val="2"/>
          <c:spPr>
            <a:ln w="28575" cmpd="sng" algn="ctr">
              <a:solidFill>
                <a:srgbClr val="009A44"/>
              </a:solidFill>
              <a:prstDash val="solid"/>
            </a:ln>
          </c:spPr>
          <c:marker>
            <c:symbol val="none"/>
          </c:marker>
          <c:dLbls>
            <c:dLbl>
              <c:idx val="4"/>
              <c:layout>
                <c:manualLayout>
                  <c:x val="0"/>
                  <c:y val="-6.550218340611353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37-4635-8346-F5A18C9BC5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50018</c:v>
                </c:pt>
                <c:pt idx="1">
                  <c:v>60234</c:v>
                </c:pt>
                <c:pt idx="2">
                  <c:v>68719</c:v>
                </c:pt>
                <c:pt idx="3">
                  <c:v>86066</c:v>
                </c:pt>
                <c:pt idx="4">
                  <c:v>112335</c:v>
                </c:pt>
              </c:numCache>
            </c:numRef>
          </c:yVal>
          <c:smooth val="0"/>
          <c:extLst>
            <c:ext xmlns:c16="http://schemas.microsoft.com/office/drawing/2014/chart" uri="{C3380CC4-5D6E-409C-BE32-E72D297353CC}">
              <c16:uniqueId val="{00000005-C137-4635-8346-F5A18C9BC5D0}"/>
            </c:ext>
          </c:extLst>
        </c:ser>
        <c:ser>
          <c:idx val="3"/>
          <c:order val="3"/>
          <c:spPr>
            <a:ln w="28575" cmpd="sng" algn="ctr">
              <a:solidFill>
                <a:srgbClr val="63666A"/>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81929</c:v>
                </c:pt>
                <c:pt idx="1">
                  <c:v>81391</c:v>
                </c:pt>
                <c:pt idx="2">
                  <c:v>76197</c:v>
                </c:pt>
                <c:pt idx="3">
                  <c:v>73735</c:v>
                </c:pt>
                <c:pt idx="4">
                  <c:v>73151</c:v>
                </c:pt>
              </c:numCache>
            </c:numRef>
          </c:yVal>
          <c:smooth val="0"/>
          <c:extLst>
            <c:ext xmlns:c16="http://schemas.microsoft.com/office/drawing/2014/chart" uri="{C3380CC4-5D6E-409C-BE32-E72D297353CC}">
              <c16:uniqueId val="{00000006-C137-4635-8346-F5A18C9BC5D0}"/>
            </c:ext>
          </c:extLst>
        </c:ser>
        <c:dLbls>
          <c:showLegendKey val="0"/>
          <c:showVal val="0"/>
          <c:showCatName val="0"/>
          <c:showSerName val="0"/>
          <c:showPercent val="0"/>
          <c:showBubbleSize val="0"/>
        </c:dLbls>
        <c:axId val="4"/>
        <c:axId val="5"/>
      </c:scatterChart>
      <c:valAx>
        <c:axId val="4"/>
        <c:scaling>
          <c:orientation val="minMax"/>
          <c:max val="2021"/>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4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1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5492482356551"/>
          <c:y val="4.5961917268548917E-2"/>
          <c:w val="0.81558760355937399"/>
          <c:h val="0.86244254760341432"/>
        </c:manualLayout>
      </c:layout>
      <c:scatterChart>
        <c:scatterStyle val="lineMarker"/>
        <c:varyColors val="0"/>
        <c:ser>
          <c:idx val="0"/>
          <c:order val="0"/>
          <c:spPr>
            <a:ln w="28575" cmpd="sng" algn="ctr">
              <a:solidFill>
                <a:srgbClr val="8FAADC"/>
              </a:solidFill>
              <a:prstDash val="solid"/>
            </a:ln>
          </c:spPr>
          <c:marker>
            <c:symbol val="none"/>
          </c:marker>
          <c:dLbls>
            <c:dLbl>
              <c:idx val="3"/>
              <c:layout>
                <c:manualLayout>
                  <c:x val="0"/>
                  <c:y val="-2.954694681549573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9C-4C5D-88BA-9160295EE3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1106</c:v>
                </c:pt>
                <c:pt idx="1">
                  <c:v>1227</c:v>
                </c:pt>
                <c:pt idx="2">
                  <c:v>1204</c:v>
                </c:pt>
                <c:pt idx="3">
                  <c:v>2169</c:v>
                </c:pt>
                <c:pt idx="4">
                  <c:v>865</c:v>
                </c:pt>
              </c:numCache>
            </c:numRef>
          </c:yVal>
          <c:smooth val="0"/>
          <c:extLst>
            <c:ext xmlns:c16="http://schemas.microsoft.com/office/drawing/2014/chart" uri="{C3380CC4-5D6E-409C-BE32-E72D297353CC}">
              <c16:uniqueId val="{00000001-B09C-4C5D-88BA-9160295EE36F}"/>
            </c:ext>
          </c:extLst>
        </c:ser>
        <c:ser>
          <c:idx val="1"/>
          <c:order val="1"/>
          <c:spPr>
            <a:ln w="28575" cmpd="sng" algn="ctr">
              <a:solidFill>
                <a:srgbClr val="203864"/>
              </a:solidFill>
              <a:prstDash val="solid"/>
            </a:ln>
          </c:spPr>
          <c:marker>
            <c:symbol val="none"/>
          </c:marker>
          <c:dLbls>
            <c:dLbl>
              <c:idx val="3"/>
              <c:layout>
                <c:manualLayout>
                  <c:x val="0"/>
                  <c:y val="-2.954694681549573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9C-4C5D-88BA-9160295EE3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887</c:v>
                </c:pt>
                <c:pt idx="1">
                  <c:v>1199</c:v>
                </c:pt>
                <c:pt idx="2">
                  <c:v>1671</c:v>
                </c:pt>
                <c:pt idx="3">
                  <c:v>3373</c:v>
                </c:pt>
                <c:pt idx="4">
                  <c:v>733</c:v>
                </c:pt>
              </c:numCache>
            </c:numRef>
          </c:yVal>
          <c:smooth val="0"/>
          <c:extLst>
            <c:ext xmlns:c16="http://schemas.microsoft.com/office/drawing/2014/chart" uri="{C3380CC4-5D6E-409C-BE32-E72D297353CC}">
              <c16:uniqueId val="{00000003-B09C-4C5D-88BA-9160295EE36F}"/>
            </c:ext>
          </c:extLst>
        </c:ser>
        <c:ser>
          <c:idx val="2"/>
          <c:order val="2"/>
          <c:spPr>
            <a:ln w="28575" cmpd="sng" algn="ctr">
              <a:solidFill>
                <a:srgbClr val="C4D600"/>
              </a:solidFill>
              <a:prstDash val="solid"/>
            </a:ln>
          </c:spPr>
          <c:marker>
            <c:symbol val="none"/>
          </c:marker>
          <c:dLbls>
            <c:dLbl>
              <c:idx val="3"/>
              <c:layout>
                <c:manualLayout>
                  <c:x val="0"/>
                  <c:y val="-2.954694681549573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9C-4C5D-88BA-9160295EE3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262</c:v>
                </c:pt>
                <c:pt idx="1">
                  <c:v>280</c:v>
                </c:pt>
                <c:pt idx="2">
                  <c:v>168</c:v>
                </c:pt>
                <c:pt idx="3">
                  <c:v>147</c:v>
                </c:pt>
                <c:pt idx="4">
                  <c:v>346</c:v>
                </c:pt>
              </c:numCache>
            </c:numRef>
          </c:yVal>
          <c:smooth val="0"/>
          <c:extLst>
            <c:ext xmlns:c16="http://schemas.microsoft.com/office/drawing/2014/chart" uri="{C3380CC4-5D6E-409C-BE32-E72D297353CC}">
              <c16:uniqueId val="{00000005-B09C-4C5D-88BA-9160295EE36F}"/>
            </c:ext>
          </c:extLst>
        </c:ser>
        <c:ser>
          <c:idx val="3"/>
          <c:order val="3"/>
          <c:spPr>
            <a:ln w="28575" cmpd="sng" algn="ctr">
              <a:solidFill>
                <a:srgbClr val="6FC2B4"/>
              </a:solidFill>
              <a:prstDash val="solid"/>
            </a:ln>
          </c:spPr>
          <c:marker>
            <c:symbol val="none"/>
          </c:marker>
          <c:dLbls>
            <c:dLbl>
              <c:idx val="3"/>
              <c:layout>
                <c:manualLayout>
                  <c:x val="0"/>
                  <c:y val="-2.9546946815495731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9C-4C5D-88BA-9160295EE3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742</c:v>
                </c:pt>
                <c:pt idx="1">
                  <c:v>253</c:v>
                </c:pt>
                <c:pt idx="2">
                  <c:v>514</c:v>
                </c:pt>
                <c:pt idx="3">
                  <c:v>496</c:v>
                </c:pt>
                <c:pt idx="4">
                  <c:v>275</c:v>
                </c:pt>
              </c:numCache>
            </c:numRef>
          </c:yVal>
          <c:smooth val="0"/>
          <c:extLst>
            <c:ext xmlns:c16="http://schemas.microsoft.com/office/drawing/2014/chart" uri="{C3380CC4-5D6E-409C-BE32-E72D297353CC}">
              <c16:uniqueId val="{00000007-B09C-4C5D-88BA-9160295EE36F}"/>
            </c:ext>
          </c:extLst>
        </c:ser>
        <c:dLbls>
          <c:showLegendKey val="0"/>
          <c:showVal val="0"/>
          <c:showCatName val="0"/>
          <c:showSerName val="0"/>
          <c:showPercent val="0"/>
          <c:showBubbleSize val="0"/>
        </c:dLbls>
        <c:axId val="4"/>
        <c:axId val="5"/>
      </c:scatterChart>
      <c:valAx>
        <c:axId val="4"/>
        <c:scaling>
          <c:orientation val="minMax"/>
          <c:max val="2021"/>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3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2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5492482356551"/>
          <c:y val="5.2826691380908251E-2"/>
          <c:w val="0.81558760355937399"/>
          <c:h val="0.81788693234476362"/>
        </c:manualLayout>
      </c:layout>
      <c:scatterChart>
        <c:scatterStyle val="lineMarker"/>
        <c:varyColors val="0"/>
        <c:ser>
          <c:idx val="0"/>
          <c:order val="0"/>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1106</c:v>
                </c:pt>
                <c:pt idx="1">
                  <c:v>1227</c:v>
                </c:pt>
                <c:pt idx="2">
                  <c:v>1204</c:v>
                </c:pt>
                <c:pt idx="3">
                  <c:v>2169</c:v>
                </c:pt>
                <c:pt idx="4">
                  <c:v>865</c:v>
                </c:pt>
              </c:numCache>
            </c:numRef>
          </c:yVal>
          <c:smooth val="0"/>
          <c:extLst>
            <c:ext xmlns:c16="http://schemas.microsoft.com/office/drawing/2014/chart" uri="{C3380CC4-5D6E-409C-BE32-E72D297353CC}">
              <c16:uniqueId val="{00000000-0280-44C0-9401-17799AD89873}"/>
            </c:ext>
          </c:extLst>
        </c:ser>
        <c:ser>
          <c:idx val="1"/>
          <c:order val="1"/>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887</c:v>
                </c:pt>
                <c:pt idx="1">
                  <c:v>1199</c:v>
                </c:pt>
                <c:pt idx="2">
                  <c:v>1671</c:v>
                </c:pt>
                <c:pt idx="3">
                  <c:v>3373</c:v>
                </c:pt>
                <c:pt idx="4">
                  <c:v>733</c:v>
                </c:pt>
              </c:numCache>
            </c:numRef>
          </c:yVal>
          <c:smooth val="0"/>
          <c:extLst>
            <c:ext xmlns:c16="http://schemas.microsoft.com/office/drawing/2014/chart" uri="{C3380CC4-5D6E-409C-BE32-E72D297353CC}">
              <c16:uniqueId val="{00000001-0280-44C0-9401-17799AD89873}"/>
            </c:ext>
          </c:extLst>
        </c:ser>
        <c:ser>
          <c:idx val="2"/>
          <c:order val="2"/>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262</c:v>
                </c:pt>
                <c:pt idx="1">
                  <c:v>280</c:v>
                </c:pt>
                <c:pt idx="2">
                  <c:v>168</c:v>
                </c:pt>
                <c:pt idx="3">
                  <c:v>147</c:v>
                </c:pt>
                <c:pt idx="4">
                  <c:v>346</c:v>
                </c:pt>
              </c:numCache>
            </c:numRef>
          </c:yVal>
          <c:smooth val="0"/>
          <c:extLst>
            <c:ext xmlns:c16="http://schemas.microsoft.com/office/drawing/2014/chart" uri="{C3380CC4-5D6E-409C-BE32-E72D297353CC}">
              <c16:uniqueId val="{00000002-0280-44C0-9401-17799AD89873}"/>
            </c:ext>
          </c:extLst>
        </c:ser>
        <c:ser>
          <c:idx val="3"/>
          <c:order val="3"/>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1">
                  <c:v>253</c:v>
                </c:pt>
                <c:pt idx="2">
                  <c:v>396</c:v>
                </c:pt>
                <c:pt idx="3">
                  <c:v>496</c:v>
                </c:pt>
                <c:pt idx="4">
                  <c:v>197</c:v>
                </c:pt>
              </c:numCache>
            </c:numRef>
          </c:yVal>
          <c:smooth val="0"/>
          <c:extLst>
            <c:ext xmlns:c16="http://schemas.microsoft.com/office/drawing/2014/chart" uri="{C3380CC4-5D6E-409C-BE32-E72D297353CC}">
              <c16:uniqueId val="{00000003-0280-44C0-9401-17799AD89873}"/>
            </c:ext>
          </c:extLst>
        </c:ser>
        <c:ser>
          <c:idx val="4"/>
          <c:order val="4"/>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323</c:v>
                </c:pt>
                <c:pt idx="1">
                  <c:v>220.5</c:v>
                </c:pt>
                <c:pt idx="2">
                  <c:v>118</c:v>
                </c:pt>
                <c:pt idx="3">
                  <c:v>96</c:v>
                </c:pt>
                <c:pt idx="4">
                  <c:v>74</c:v>
                </c:pt>
              </c:numCache>
            </c:numRef>
          </c:yVal>
          <c:smooth val="0"/>
          <c:extLst>
            <c:ext xmlns:c16="http://schemas.microsoft.com/office/drawing/2014/chart" uri="{C3380CC4-5D6E-409C-BE32-E72D297353CC}">
              <c16:uniqueId val="{00000004-0280-44C0-9401-17799AD89873}"/>
            </c:ext>
          </c:extLst>
        </c:ser>
        <c:ser>
          <c:idx val="5"/>
          <c:order val="5"/>
          <c:spPr>
            <a:ln w="28575" cmpd="sng" algn="ctr">
              <a:solidFill>
                <a:srgbClr val="86BC25"/>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7:$E$7</c:f>
              <c:numCache>
                <c:formatCode>General</c:formatCode>
                <c:ptCount val="5"/>
                <c:pt idx="0">
                  <c:v>419</c:v>
                </c:pt>
                <c:pt idx="1">
                  <c:v>315.25</c:v>
                </c:pt>
                <c:pt idx="2">
                  <c:v>211.5</c:v>
                </c:pt>
                <c:pt idx="3">
                  <c:v>107.75</c:v>
                </c:pt>
                <c:pt idx="4">
                  <c:v>4</c:v>
                </c:pt>
              </c:numCache>
            </c:numRef>
          </c:yVal>
          <c:smooth val="0"/>
          <c:extLst>
            <c:ext xmlns:c16="http://schemas.microsoft.com/office/drawing/2014/chart" uri="{C3380CC4-5D6E-409C-BE32-E72D297353CC}">
              <c16:uniqueId val="{00000005-0280-44C0-9401-17799AD89873}"/>
            </c:ext>
          </c:extLst>
        </c:ser>
        <c:dLbls>
          <c:showLegendKey val="0"/>
          <c:showVal val="0"/>
          <c:showCatName val="0"/>
          <c:showSerName val="0"/>
          <c:showPercent val="0"/>
          <c:showBubbleSize val="0"/>
        </c:dLbls>
        <c:axId val="4"/>
        <c:axId val="5"/>
      </c:scatterChart>
      <c:valAx>
        <c:axId val="4"/>
        <c:scaling>
          <c:orientation val="minMax"/>
          <c:max val="2021"/>
          <c:min val="2017"/>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3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1DE63F-DE99-49FB-83BD-90957C19D2FC}" type="datetimeFigureOut">
              <a:t>8/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21EF4D-4A2D-4337-A295-71CA3EF9B257}" type="slidenum">
              <a:t>‹#›</a:t>
            </a:fld>
            <a:endParaRPr lang="en-US"/>
          </a:p>
        </p:txBody>
      </p:sp>
    </p:spTree>
    <p:extLst>
      <p:ext uri="{BB962C8B-B14F-4D97-AF65-F5344CB8AC3E}">
        <p14:creationId xmlns:p14="http://schemas.microsoft.com/office/powerpoint/2010/main" val="2433988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2</a:t>
            </a:fld>
            <a:endParaRPr lang="en-AU"/>
          </a:p>
        </p:txBody>
      </p:sp>
    </p:spTree>
    <p:extLst>
      <p:ext uri="{BB962C8B-B14F-4D97-AF65-F5344CB8AC3E}">
        <p14:creationId xmlns:p14="http://schemas.microsoft.com/office/powerpoint/2010/main" val="3770076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AU"/>
              <a:t>Total Capacity of Wind Power Generation – sense check – check with Ha. (128,000 MW) – wind turbine data set </a:t>
            </a:r>
          </a:p>
          <a:p>
            <a:pPr marL="228600" indent="-228600">
              <a:buAutoNum type="arabicPeriod"/>
            </a:pPr>
            <a:r>
              <a:rPr lang="en-AU"/>
              <a:t>Plant Operators to invest – any metrics? (no of turbines or capacity) – Rate of capacity: No. of Turbines  - Ha – Coastal </a:t>
            </a:r>
            <a:r>
              <a:rPr lang="en-AU" err="1"/>
              <a:t>Cirginia</a:t>
            </a:r>
            <a:r>
              <a:rPr lang="en-AU"/>
              <a:t> at 6) </a:t>
            </a:r>
          </a:p>
        </p:txBody>
      </p:sp>
      <p:sp>
        <p:nvSpPr>
          <p:cNvPr id="4" name="Slide Number Placeholder 3"/>
          <p:cNvSpPr>
            <a:spLocks noGrp="1"/>
          </p:cNvSpPr>
          <p:nvPr>
            <p:ph type="sldNum" sz="quarter" idx="5"/>
          </p:nvPr>
        </p:nvSpPr>
        <p:spPr/>
        <p:txBody>
          <a:bodyPr/>
          <a:lstStyle/>
          <a:p>
            <a:fld id="{A221EF4D-4A2D-4337-A295-71CA3EF9B257}" type="slidenum">
              <a:rPr lang="en-AU" smtClean="0"/>
              <a:t>56</a:t>
            </a:fld>
            <a:endParaRPr lang="en-AU"/>
          </a:p>
        </p:txBody>
      </p:sp>
    </p:spTree>
    <p:extLst>
      <p:ext uri="{BB962C8B-B14F-4D97-AF65-F5344CB8AC3E}">
        <p14:creationId xmlns:p14="http://schemas.microsoft.com/office/powerpoint/2010/main" val="3390039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800" b="1" u="sng">
                <a:effectLst/>
                <a:latin typeface="Calibri" panose="020F0502020204030204" pitchFamily="34" charset="0"/>
                <a:ea typeface="Calibri" panose="020F0502020204030204" pitchFamily="34" charset="0"/>
                <a:cs typeface="Times New Roman" panose="02020603050405020304" pitchFamily="18" charset="0"/>
              </a:rPr>
              <a:t>When looking at the US wind Turbine market: </a:t>
            </a:r>
            <a:endParaRPr lang="en-AU"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As a result of current government policies and lower wind costs, the US has grown its wind capacity by an average annual growth rate of 11.3% from 2011 to 2021. </a:t>
            </a:r>
          </a:p>
          <a:p>
            <a:pPr marL="342900" lvl="0" indent="-342900">
              <a:lnSpc>
                <a:spcPct val="107000"/>
              </a:lnSpc>
              <a:spcAft>
                <a:spcPts val="800"/>
              </a:spcAft>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Wind energy currently generates over 9% of national electricity, and more than 50% in states such as Iowa and South Dakota. </a:t>
            </a:r>
          </a:p>
          <a:p>
            <a:pPr marL="342900" lvl="0" indent="-342900">
              <a:lnSpc>
                <a:spcPct val="107000"/>
              </a:lnSpc>
              <a:spcAft>
                <a:spcPts val="800"/>
              </a:spcAft>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In the US, Wind energy surpassed Conventional Hydroelectric as the leader in renewable energy source in 2019 and has continued to increase year on year whilst Conventional Hydroelectric has gone on a decline in output.</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5</a:t>
            </a:fld>
            <a:endParaRPr lang="en-AU"/>
          </a:p>
        </p:txBody>
      </p:sp>
    </p:spTree>
    <p:extLst>
      <p:ext uri="{BB962C8B-B14F-4D97-AF65-F5344CB8AC3E}">
        <p14:creationId xmlns:p14="http://schemas.microsoft.com/office/powerpoint/2010/main" val="2632992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800" b="1" u="sng">
                <a:effectLst/>
                <a:latin typeface="Calibri" panose="020F0502020204030204" pitchFamily="34" charset="0"/>
                <a:ea typeface="Calibri" panose="020F0502020204030204" pitchFamily="34" charset="0"/>
                <a:cs typeface="Times New Roman" panose="02020603050405020304" pitchFamily="18" charset="0"/>
              </a:rPr>
              <a:t>Slide 6: </a:t>
            </a:r>
            <a:endParaRPr lang="en-AU"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AU" sz="1800">
                <a:effectLst/>
                <a:latin typeface="Calibri" panose="020F0502020204030204" pitchFamily="34" charset="0"/>
                <a:ea typeface="Calibri" panose="020F0502020204030204" pitchFamily="34" charset="0"/>
                <a:cs typeface="Times New Roman" panose="02020603050405020304" pitchFamily="18" charset="0"/>
              </a:rPr>
              <a:t>At a snapshot, there are: </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6</a:t>
            </a:fld>
            <a:endParaRPr lang="en-AU"/>
          </a:p>
        </p:txBody>
      </p:sp>
    </p:spTree>
    <p:extLst>
      <p:ext uri="{BB962C8B-B14F-4D97-AF65-F5344CB8AC3E}">
        <p14:creationId xmlns:p14="http://schemas.microsoft.com/office/powerpoint/2010/main" val="844962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800" b="1" u="sng">
                <a:effectLst/>
                <a:latin typeface="Calibri" panose="020F0502020204030204" pitchFamily="34" charset="0"/>
                <a:ea typeface="Calibri" panose="020F0502020204030204" pitchFamily="34" charset="0"/>
                <a:cs typeface="Times New Roman" panose="02020603050405020304" pitchFamily="18" charset="0"/>
              </a:rPr>
              <a:t>Slide 7:</a:t>
            </a:r>
            <a:endParaRPr lang="en-AU"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Within the US, Texas has the highest electricity capacity by a significant margin out of all US states in 2021, this is approximately c. 34.6m kilowatts (kW). This is followed by Iowa at 12m kW</a:t>
            </a:r>
          </a:p>
          <a:p>
            <a:pPr marL="457200">
              <a:lnSpc>
                <a:spcPct val="107000"/>
              </a:lnSpc>
            </a:pPr>
            <a:r>
              <a:rPr lang="en-AU" sz="18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Texas has remained the state with the greatest additional electricity capacity for all years from 2017 to 2021. </a:t>
            </a:r>
          </a:p>
          <a:p>
            <a:pPr marL="457200">
              <a:lnSpc>
                <a:spcPct val="107000"/>
              </a:lnSpc>
            </a:pPr>
            <a:r>
              <a:rPr lang="en-AU" sz="18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Arial" panose="020B0604020202020204" pitchFamily="34" charset="0"/>
              <a:buChar char="•"/>
              <a:tabLst>
                <a:tab pos="457200" algn="l"/>
              </a:tabLst>
            </a:pPr>
            <a:r>
              <a:rPr lang="en-AU" sz="1800">
                <a:effectLst/>
                <a:latin typeface="Calibri" panose="020F0502020204030204" pitchFamily="34" charset="0"/>
                <a:ea typeface="Calibri" panose="020F0502020204030204" pitchFamily="34" charset="0"/>
                <a:cs typeface="Times New Roman" panose="02020603050405020304" pitchFamily="18" charset="0"/>
              </a:rPr>
              <a:t>It is also worth noting that the Midwest has the highest number of turbines. Texas has approx. 17,000 wind turbines and Oklahoma has approx. 4,900 wind turbines. </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7</a:t>
            </a:fld>
            <a:endParaRPr lang="en-AU"/>
          </a:p>
        </p:txBody>
      </p:sp>
    </p:spTree>
    <p:extLst>
      <p:ext uri="{BB962C8B-B14F-4D97-AF65-F5344CB8AC3E}">
        <p14:creationId xmlns:p14="http://schemas.microsoft.com/office/powerpoint/2010/main" val="178538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15</a:t>
            </a:fld>
            <a:endParaRPr lang="en-AU"/>
          </a:p>
        </p:txBody>
      </p:sp>
    </p:spTree>
    <p:extLst>
      <p:ext uri="{BB962C8B-B14F-4D97-AF65-F5344CB8AC3E}">
        <p14:creationId xmlns:p14="http://schemas.microsoft.com/office/powerpoint/2010/main" val="1673747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800" b="1" u="sng">
                <a:effectLst/>
                <a:latin typeface="Calibri" panose="020F0502020204030204" pitchFamily="34" charset="0"/>
                <a:ea typeface="Calibri" panose="020F0502020204030204" pitchFamily="34" charset="0"/>
                <a:cs typeface="Times New Roman" panose="02020603050405020304" pitchFamily="18" charset="0"/>
              </a:rPr>
              <a:t>Slide 19: When looking at key players in the manufacturing market </a:t>
            </a:r>
            <a:endParaRPr lang="en-AU"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AU" sz="1800">
                <a:effectLst/>
                <a:latin typeface="Calibri" panose="020F0502020204030204" pitchFamily="34" charset="0"/>
                <a:ea typeface="Calibri" panose="020F0502020204030204" pitchFamily="34" charset="0"/>
                <a:cs typeface="Times New Roman" panose="02020603050405020304" pitchFamily="18" charset="0"/>
              </a:rPr>
              <a:t>There were 4 manufacturers of wind turbines in the US in 2017 – 2021 with Vestas and GE Wind dominating  the manufacturing market. </a:t>
            </a:r>
          </a:p>
          <a:p>
            <a:pPr marL="457200">
              <a:lnSpc>
                <a:spcPct val="107000"/>
              </a:lnSpc>
            </a:pPr>
            <a:r>
              <a:rPr lang="en-AU" sz="18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pPr>
            <a:r>
              <a:rPr lang="en-AU" sz="1800">
                <a:effectLst/>
                <a:latin typeface="Calibri" panose="020F0502020204030204" pitchFamily="34" charset="0"/>
                <a:ea typeface="Calibri" panose="020F0502020204030204" pitchFamily="34" charset="0"/>
                <a:cs typeface="Times New Roman" panose="02020603050405020304" pitchFamily="18" charset="0"/>
              </a:rPr>
              <a:t>Vestas and GE Wind are the top 1 and 2 player respectively and together, they make up over 80% of the total manufacturing market share from 2017 – 2021. This also represents 14,434 units of turbine. </a:t>
            </a:r>
          </a:p>
          <a:p>
            <a:pPr marL="342900" lvl="0" indent="-342900">
              <a:lnSpc>
                <a:spcPct val="107000"/>
              </a:lnSpc>
              <a:buFont typeface="Symbol" panose="05050102010706020507" pitchFamily="18" charset="2"/>
              <a:buChar char=""/>
            </a:pPr>
            <a:r>
              <a:rPr lang="en-AU" sz="1800">
                <a:effectLst/>
                <a:latin typeface="Calibri" panose="020F0502020204030204" pitchFamily="34" charset="0"/>
                <a:ea typeface="Calibri" panose="020F0502020204030204" pitchFamily="34" charset="0"/>
                <a:cs typeface="Times New Roman" panose="02020603050405020304" pitchFamily="18" charset="0"/>
              </a:rPr>
              <a:t>In 2017 and 2018, Vestas was the market leader by a small margin, however, GE Wind overtook Vestas’ position by a significant margin in 2019 and 2020. </a:t>
            </a:r>
          </a:p>
          <a:p>
            <a:pPr marL="457200">
              <a:lnSpc>
                <a:spcPct val="107000"/>
              </a:lnSpc>
            </a:pPr>
            <a:r>
              <a:rPr lang="en-AU" sz="18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Symbol" panose="05050102010706020507" pitchFamily="18" charset="2"/>
              <a:buChar char=""/>
            </a:pPr>
            <a:r>
              <a:rPr lang="en-AU" sz="1800">
                <a:effectLst/>
                <a:latin typeface="Calibri" panose="020F0502020204030204" pitchFamily="34" charset="0"/>
                <a:ea typeface="Calibri" panose="020F0502020204030204" pitchFamily="34" charset="0"/>
                <a:cs typeface="Times New Roman" panose="02020603050405020304" pitchFamily="18" charset="0"/>
              </a:rPr>
              <a:t>In 2021, these two market players significantly reduced their output – GE Wind by c. 78.2% and Vestas by c. 60.0% from 2020 to 2021. </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19</a:t>
            </a:fld>
            <a:endParaRPr lang="en-AU"/>
          </a:p>
        </p:txBody>
      </p:sp>
    </p:spTree>
    <p:extLst>
      <p:ext uri="{BB962C8B-B14F-4D97-AF65-F5344CB8AC3E}">
        <p14:creationId xmlns:p14="http://schemas.microsoft.com/office/powerpoint/2010/main" val="1222783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100" b="1" u="sng">
                <a:effectLst/>
                <a:latin typeface="Calibri" panose="020F0502020204030204" pitchFamily="34" charset="0"/>
                <a:ea typeface="Calibri" panose="020F0502020204030204" pitchFamily="34" charset="0"/>
                <a:cs typeface="Times New Roman" panose="02020603050405020304" pitchFamily="18" charset="0"/>
              </a:rPr>
              <a:t>Slide 20:  Additionally, we have looked at the quality of the turbines manufactured </a:t>
            </a:r>
            <a:endParaRPr lang="en-AU"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Several metrics have been used as a proxy to measure quality: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Percentage of Retrofi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Average Capacity by Manufacturer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Average Net Generation by Manufacturer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The typical useful life of a turbine is 20 years and we have therefore elected to analyse turbines operational from 2001 to 2021 with respect to retrofit.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Our assumption is that higher levels of retrofit is an indicator of poorer quality (and it will require money or investment to do the retrofi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Wind turbines manufactured by GE Wind have the highest percentage of retrofit at 6.2%.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When looking at Capacity and Net Generation by Manufacturer</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Turbines manufactured by Nordex, Siemens Gamesa and GE Wind have the highest average turbine capacity -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Turbines manufactured by Siemens Gamesa have the highest average net generation per turbine. </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20</a:t>
            </a:fld>
            <a:endParaRPr lang="en-AU"/>
          </a:p>
        </p:txBody>
      </p:sp>
    </p:spTree>
    <p:extLst>
      <p:ext uri="{BB962C8B-B14F-4D97-AF65-F5344CB8AC3E}">
        <p14:creationId xmlns:p14="http://schemas.microsoft.com/office/powerpoint/2010/main" val="3152495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100" b="1" u="sng">
                <a:effectLst/>
                <a:latin typeface="Calibri" panose="020F0502020204030204" pitchFamily="34" charset="0"/>
                <a:ea typeface="Calibri" panose="020F0502020204030204" pitchFamily="34" charset="0"/>
                <a:cs typeface="Times New Roman" panose="02020603050405020304" pitchFamily="18" charset="0"/>
              </a:rPr>
              <a:t>Slide 22: </a:t>
            </a:r>
            <a:endParaRPr lang="en-AU" sz="1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AU" sz="1100">
                <a:effectLst/>
                <a:latin typeface="Calibri" panose="020F0502020204030204" pitchFamily="34" charset="0"/>
                <a:ea typeface="Calibri" panose="020F0502020204030204" pitchFamily="34" charset="0"/>
                <a:cs typeface="Times New Roman" panose="02020603050405020304" pitchFamily="18" charset="0"/>
              </a:rPr>
              <a:t>When looking into the future and what the future state looks like it is important to consider: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There has been significant support by the US government for renewable energy and this has been a key factor in driving growth in the industry.</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Federal tax credits for production and investmen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Federal grants and loan programs including the Department of Agriculture and the Department of Energy</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State and local government tax credits to help financing projects</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There are Renewed efforts by the federal government are in play and are projected to further expand the renewable energy marke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Ambitious goals set by the Biden-Harris Administration: mandates to achieve 100% carbon pollution free electricity by 2023 and net zero emissions from federal procurement by 2050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Calibri" panose="020F0502020204030204" pitchFamily="34" charset="0"/>
                <a:ea typeface="Calibri" panose="020F0502020204030204" pitchFamily="34" charset="0"/>
                <a:cs typeface="Times New Roman" panose="02020603050405020304" pitchFamily="18" charset="0"/>
              </a:rPr>
              <a:t>At COP27, climate adaptation was a key focus area, with a particular push towards pledges from nations across the world to commit towards a renewable energy target. </a:t>
            </a:r>
          </a:p>
          <a:p>
            <a:endParaRPr lang="en-AU"/>
          </a:p>
        </p:txBody>
      </p:sp>
      <p:sp>
        <p:nvSpPr>
          <p:cNvPr id="4" name="Slide Number Placeholder 3"/>
          <p:cNvSpPr>
            <a:spLocks noGrp="1"/>
          </p:cNvSpPr>
          <p:nvPr>
            <p:ph type="sldNum" sz="quarter" idx="5"/>
          </p:nvPr>
        </p:nvSpPr>
        <p:spPr/>
        <p:txBody>
          <a:bodyPr/>
          <a:lstStyle/>
          <a:p>
            <a:fld id="{A221EF4D-4A2D-4337-A295-71CA3EF9B257}" type="slidenum">
              <a:rPr lang="en-AU" smtClean="0"/>
              <a:t>22</a:t>
            </a:fld>
            <a:endParaRPr lang="en-AU"/>
          </a:p>
        </p:txBody>
      </p:sp>
    </p:spTree>
    <p:extLst>
      <p:ext uri="{BB962C8B-B14F-4D97-AF65-F5344CB8AC3E}">
        <p14:creationId xmlns:p14="http://schemas.microsoft.com/office/powerpoint/2010/main" val="2837125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State limitations of analysis (retrofit)</a:t>
            </a:r>
          </a:p>
        </p:txBody>
      </p:sp>
      <p:sp>
        <p:nvSpPr>
          <p:cNvPr id="4" name="Slide Number Placeholder 3"/>
          <p:cNvSpPr>
            <a:spLocks noGrp="1"/>
          </p:cNvSpPr>
          <p:nvPr>
            <p:ph type="sldNum" sz="quarter" idx="5"/>
          </p:nvPr>
        </p:nvSpPr>
        <p:spPr/>
        <p:txBody>
          <a:bodyPr/>
          <a:lstStyle/>
          <a:p>
            <a:fld id="{A221EF4D-4A2D-4337-A295-71CA3EF9B257}" type="slidenum">
              <a:rPr lang="en-AU" smtClean="0"/>
              <a:t>52</a:t>
            </a:fld>
            <a:endParaRPr lang="en-AU"/>
          </a:p>
        </p:txBody>
      </p:sp>
    </p:spTree>
    <p:extLst>
      <p:ext uri="{BB962C8B-B14F-4D97-AF65-F5344CB8AC3E}">
        <p14:creationId xmlns:p14="http://schemas.microsoft.com/office/powerpoint/2010/main" val="431549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FA60C3-44E5-69E2-628E-C8D4D48F8F4C}"/>
              </a:ext>
            </a:extLst>
          </p:cNvPr>
          <p:cNvGraphicFramePr>
            <a:graphicFrameLocks noChangeAspect="1"/>
          </p:cNvGraphicFramePr>
          <p:nvPr userDrawn="1">
            <p:custDataLst>
              <p:tags r:id="rId2"/>
            </p:custDataLst>
            <p:extLst>
              <p:ext uri="{D42A27DB-BD31-4B8C-83A1-F6EECF244321}">
                <p14:modId xmlns:p14="http://schemas.microsoft.com/office/powerpoint/2010/main" val="2005210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592" imgH="591" progId="TCLayout.ActiveDocument.1">
                  <p:embed/>
                </p:oleObj>
              </mc:Choice>
              <mc:Fallback>
                <p:oleObj name="think-cell Slide" r:id="rId4" imgW="592" imgH="591" progId="TCLayout.ActiveDocument.1">
                  <p:embed/>
                  <p:pic>
                    <p:nvPicPr>
                      <p:cNvPr id="7" name="think-cell data - do not delete" hidden="1">
                        <a:extLst>
                          <a:ext uri="{FF2B5EF4-FFF2-40B4-BE49-F238E27FC236}">
                            <a16:creationId xmlns:a16="http://schemas.microsoft.com/office/drawing/2014/main" id="{F1FA60C3-44E5-69E2-628E-C8D4D48F8F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8CFF35A-3D31-B909-3F75-AFACD9A70482}"/>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73CDB4FD-3A07-4D98-9AA5-78D36C1AA48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6B701A3-4EB9-D6F9-24F1-6C1407BDC1A3}"/>
              </a:ext>
            </a:extLst>
          </p:cNvPr>
          <p:cNvSpPr>
            <a:spLocks noGrp="1"/>
          </p:cNvSpPr>
          <p:nvPr>
            <p:ph type="sldNum" sz="quarter" idx="12"/>
          </p:nvPr>
        </p:nvSpPr>
        <p:spPr/>
        <p:txBody>
          <a:bodyPr/>
          <a:lstStyle/>
          <a:p>
            <a:fld id="{BF85D8DF-D622-436D-9E6E-9B372F7963C7}" type="slidenum">
              <a:rPr lang="en-AU" smtClean="0"/>
              <a:t>‹#›</a:t>
            </a:fld>
            <a:endParaRPr lang="en-AU"/>
          </a:p>
        </p:txBody>
      </p:sp>
      <p:pic>
        <p:nvPicPr>
          <p:cNvPr id="8" name="Picture 2" descr="Wind power affects climate – cooling and warming regions around farms,  studies claim">
            <a:extLst>
              <a:ext uri="{FF2B5EF4-FFF2-40B4-BE49-F238E27FC236}">
                <a16:creationId xmlns:a16="http://schemas.microsoft.com/office/drawing/2014/main" id="{A488AACA-A1B1-5F87-58B5-29993D45AB5B}"/>
              </a:ext>
            </a:extLst>
          </p:cNvPr>
          <p:cNvPicPr>
            <a:picLocks noChangeAspect="1" noChangeArrowheads="1"/>
          </p:cNvPicPr>
          <p:nvPr userDrawn="1"/>
        </p:nvPicPr>
        <p:blipFill>
          <a:blip r:embed="rId6">
            <a:alphaModFix amt="80000"/>
            <a:extLst>
              <a:ext uri="{28A0092B-C50C-407E-A947-70E740481C1C}">
                <a14:useLocalDpi xmlns:a14="http://schemas.microsoft.com/office/drawing/2010/main" val="0"/>
              </a:ext>
            </a:extLst>
          </a:blip>
          <a:srcRect/>
          <a:stretch>
            <a:fillRect/>
          </a:stretch>
        </p:blipFill>
        <p:spPr bwMode="auto">
          <a:xfrm>
            <a:off x="4867274" y="1"/>
            <a:ext cx="732472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4.png">
            <a:extLst>
              <a:ext uri="{FF2B5EF4-FFF2-40B4-BE49-F238E27FC236}">
                <a16:creationId xmlns:a16="http://schemas.microsoft.com/office/drawing/2014/main" id="{C5CE64A2-183A-9DB2-A646-C1E2EC043EBC}"/>
              </a:ext>
            </a:extLst>
          </p:cNvPr>
          <p:cNvPicPr/>
          <p:nvPr userDrawn="1"/>
        </p:nvPicPr>
        <p:blipFill rotWithShape="1">
          <a:blip r:embed="rId7"/>
          <a:srcRect r="88082"/>
          <a:stretch/>
        </p:blipFill>
        <p:spPr>
          <a:xfrm>
            <a:off x="391274" y="356566"/>
            <a:ext cx="503487" cy="460375"/>
          </a:xfrm>
          <a:prstGeom prst="rect">
            <a:avLst/>
          </a:prstGeom>
          <a:ln w="12700">
            <a:noFill/>
            <a:prstDash val="solid"/>
          </a:ln>
        </p:spPr>
      </p:pic>
      <p:sp>
        <p:nvSpPr>
          <p:cNvPr id="11" name="TextBox 10">
            <a:extLst>
              <a:ext uri="{FF2B5EF4-FFF2-40B4-BE49-F238E27FC236}">
                <a16:creationId xmlns:a16="http://schemas.microsoft.com/office/drawing/2014/main" id="{AADD46B4-9C61-2BD8-4426-732BF4C234BF}"/>
              </a:ext>
            </a:extLst>
          </p:cNvPr>
          <p:cNvSpPr txBox="1"/>
          <p:nvPr userDrawn="1"/>
        </p:nvSpPr>
        <p:spPr>
          <a:xfrm>
            <a:off x="894761" y="356566"/>
            <a:ext cx="2686639" cy="461665"/>
          </a:xfrm>
          <a:prstGeom prst="rect">
            <a:avLst/>
          </a:prstGeom>
          <a:noFill/>
        </p:spPr>
        <p:txBody>
          <a:bodyPr wrap="square" rtlCol="0">
            <a:spAutoFit/>
          </a:bodyPr>
          <a:lstStyle/>
          <a:p>
            <a:r>
              <a:rPr lang="en-AU" sz="2400"/>
              <a:t>Wise Data Analytics</a:t>
            </a:r>
          </a:p>
        </p:txBody>
      </p:sp>
    </p:spTree>
    <p:extLst>
      <p:ext uri="{BB962C8B-B14F-4D97-AF65-F5344CB8AC3E}">
        <p14:creationId xmlns:p14="http://schemas.microsoft.com/office/powerpoint/2010/main" val="3398104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7D6AD-D17A-626E-E2D0-47E519C6E28F}"/>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D44E4C89-2064-8C37-C0BC-3A5AEC2CBD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28B6E2E-4C9F-0802-4F2B-2413AEAF16B8}"/>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6B2C3510-3A8F-22B0-20CE-B1714A81CFE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7EDBCFC-D41E-6EF6-1A33-7323F39AC3A5}"/>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42798834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3E5CED-759A-466A-D5B6-5E8115668EA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AF89077-C2B5-FAFE-A372-6F58C8755C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4A82AA7B-427F-B66F-16E2-C33C7E00C465}"/>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28B4346A-364D-0F2C-68A3-C0568A757B3A}"/>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2676794-1750-3887-F21D-8DC8BDEE589E}"/>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1305398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32802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6509269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D06AF-EF87-8489-2C82-DEB90B7EFE0C}"/>
              </a:ext>
            </a:extLst>
          </p:cNvPr>
          <p:cNvSpPr>
            <a:spLocks noGrp="1"/>
          </p:cNvSpPr>
          <p:nvPr>
            <p:ph type="title"/>
          </p:nvPr>
        </p:nvSpPr>
        <p:spPr>
          <a:xfrm>
            <a:off x="603381" y="553616"/>
            <a:ext cx="8273140" cy="4008859"/>
          </a:xfrm>
        </p:spPr>
        <p:txBody>
          <a:bodyPr anchor="t">
            <a:normAutofit/>
          </a:bodyPr>
          <a:lstStyle>
            <a:lvl1pPr>
              <a:defRPr sz="5400" cap="all" baseline="0"/>
            </a:lvl1pPr>
          </a:lstStyle>
          <a:p>
            <a:r>
              <a:rPr lang="en-US"/>
              <a:t>Click to edit Master title style</a:t>
            </a:r>
          </a:p>
        </p:txBody>
      </p:sp>
      <p:sp>
        <p:nvSpPr>
          <p:cNvPr id="3" name="Text Placeholder 2">
            <a:extLst>
              <a:ext uri="{FF2B5EF4-FFF2-40B4-BE49-F238E27FC236}">
                <a16:creationId xmlns:a16="http://schemas.microsoft.com/office/drawing/2014/main" id="{308E5678-CA38-1318-9EA2-5E0A4F9A59BA}"/>
              </a:ext>
            </a:extLst>
          </p:cNvPr>
          <p:cNvSpPr>
            <a:spLocks noGrp="1"/>
          </p:cNvSpPr>
          <p:nvPr>
            <p:ph type="body" idx="1"/>
          </p:nvPr>
        </p:nvSpPr>
        <p:spPr>
          <a:xfrm>
            <a:off x="603380" y="4589463"/>
            <a:ext cx="8273140" cy="1384617"/>
          </a:xfrm>
        </p:spPr>
        <p:txBody>
          <a:bodyPr anchor="b">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E99186-7E5A-60AF-DE69-5C7DA71611AB}"/>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82FA13D1-1FBA-E820-323B-77B41F1A66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39BE85-85F6-4636-C651-D87CC969A49E}"/>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792512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612648" y="548640"/>
            <a:ext cx="10741152" cy="113225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72E861E-DFBA-B4AA-9356-CDE3D3F57C04}"/>
              </a:ext>
            </a:extLst>
          </p:cNvPr>
          <p:cNvSpPr>
            <a:spLocks noGrp="1"/>
          </p:cNvSpPr>
          <p:nvPr>
            <p:ph sz="half" idx="1"/>
          </p:nvPr>
        </p:nvSpPr>
        <p:spPr>
          <a:xfrm>
            <a:off x="612648"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1D7538-EC5A-3EE7-176F-A58920C507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4529169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609600" y="547396"/>
            <a:ext cx="10745788" cy="114329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609600" y="1685735"/>
            <a:ext cx="5157787"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DA52B0-7419-A946-4523-6D34BCAD26D1}"/>
              </a:ext>
            </a:extLst>
          </p:cNvPr>
          <p:cNvSpPr>
            <a:spLocks noGrp="1"/>
          </p:cNvSpPr>
          <p:nvPr>
            <p:ph sz="half" idx="2"/>
          </p:nvPr>
        </p:nvSpPr>
        <p:spPr>
          <a:xfrm>
            <a:off x="609600" y="2386894"/>
            <a:ext cx="5157787"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172200" y="1685735"/>
            <a:ext cx="5183188"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BAE980-E611-98B5-04E9-DE4584B0E33F}"/>
              </a:ext>
            </a:extLst>
          </p:cNvPr>
          <p:cNvSpPr>
            <a:spLocks noGrp="1"/>
          </p:cNvSpPr>
          <p:nvPr>
            <p:ph sz="quarter" idx="4"/>
          </p:nvPr>
        </p:nvSpPr>
        <p:spPr>
          <a:xfrm>
            <a:off x="6172199" y="2386894"/>
            <a:ext cx="5183189"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983575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4842310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186507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597160" y="553616"/>
            <a:ext cx="3595634" cy="1757505"/>
          </a:xfrm>
        </p:spPr>
        <p:txBody>
          <a:bodyPr anchor="t">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4708" y="553616"/>
            <a:ext cx="6279741" cy="548640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597160" y="2311121"/>
            <a:ext cx="3595634" cy="3728895"/>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712353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B89CE-EA33-C531-91C1-1B706AD2C73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8352FDC5-9015-C9E5-B9BA-1FF1FB3DD6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EA9D06C-995F-8800-E42D-BF31C15B8475}"/>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187C15DE-2803-3360-8E81-CF917C4AF82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F00719C-B710-3C03-29AB-E1473366F347}"/>
              </a:ext>
            </a:extLst>
          </p:cNvPr>
          <p:cNvSpPr>
            <a:spLocks noGrp="1"/>
          </p:cNvSpPr>
          <p:nvPr>
            <p:ph type="sldNum" sz="quarter" idx="12"/>
          </p:nvPr>
        </p:nvSpPr>
        <p:spPr/>
        <p:txBody>
          <a:bodyPr/>
          <a:lstStyle/>
          <a:p>
            <a:fld id="{BF85D8DF-D622-436D-9E6E-9B372F7963C7}" type="slidenum">
              <a:rPr lang="en-AU" smtClean="0"/>
              <a:t>‹#›</a:t>
            </a:fld>
            <a:endParaRPr lang="en-AU"/>
          </a:p>
        </p:txBody>
      </p:sp>
      <p:pic>
        <p:nvPicPr>
          <p:cNvPr id="7" name="image4.png">
            <a:extLst>
              <a:ext uri="{FF2B5EF4-FFF2-40B4-BE49-F238E27FC236}">
                <a16:creationId xmlns:a16="http://schemas.microsoft.com/office/drawing/2014/main" id="{5AA74659-BEAF-CD7C-4819-BC0673853F5E}"/>
              </a:ext>
            </a:extLst>
          </p:cNvPr>
          <p:cNvPicPr/>
          <p:nvPr userDrawn="1"/>
        </p:nvPicPr>
        <p:blipFill rotWithShape="1">
          <a:blip r:embed="rId2"/>
          <a:srcRect r="88082"/>
          <a:stretch/>
        </p:blipFill>
        <p:spPr>
          <a:xfrm>
            <a:off x="8630297" y="205734"/>
            <a:ext cx="503487" cy="460375"/>
          </a:xfrm>
          <a:prstGeom prst="rect">
            <a:avLst/>
          </a:prstGeom>
          <a:ln w="12700">
            <a:noFill/>
            <a:prstDash val="solid"/>
          </a:ln>
        </p:spPr>
      </p:pic>
      <p:sp>
        <p:nvSpPr>
          <p:cNvPr id="8" name="TextBox 7">
            <a:extLst>
              <a:ext uri="{FF2B5EF4-FFF2-40B4-BE49-F238E27FC236}">
                <a16:creationId xmlns:a16="http://schemas.microsoft.com/office/drawing/2014/main" id="{42987704-09BB-506F-C6F4-4934EF5348B6}"/>
              </a:ext>
            </a:extLst>
          </p:cNvPr>
          <p:cNvSpPr txBox="1"/>
          <p:nvPr userDrawn="1"/>
        </p:nvSpPr>
        <p:spPr>
          <a:xfrm>
            <a:off x="9133784" y="205734"/>
            <a:ext cx="2686639" cy="461665"/>
          </a:xfrm>
          <a:prstGeom prst="rect">
            <a:avLst/>
          </a:prstGeom>
          <a:noFill/>
        </p:spPr>
        <p:txBody>
          <a:bodyPr wrap="square" rtlCol="0">
            <a:spAutoFit/>
          </a:bodyPr>
          <a:lstStyle/>
          <a:p>
            <a:r>
              <a:rPr lang="en-AU" sz="2400"/>
              <a:t>Wise Data Analytics</a:t>
            </a:r>
          </a:p>
        </p:txBody>
      </p:sp>
    </p:spTree>
    <p:extLst>
      <p:ext uri="{BB962C8B-B14F-4D97-AF65-F5344CB8AC3E}">
        <p14:creationId xmlns:p14="http://schemas.microsoft.com/office/powerpoint/2010/main" val="9714654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594360" y="557784"/>
            <a:ext cx="3595634" cy="2212313"/>
          </a:xfrm>
        </p:spPr>
        <p:txBody>
          <a:bodyPr anchor="t">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571C769-CEC8-962A-01E6-15B0E056791E}"/>
              </a:ext>
            </a:extLst>
          </p:cNvPr>
          <p:cNvSpPr>
            <a:spLocks noGrp="1"/>
          </p:cNvSpPr>
          <p:nvPr>
            <p:ph type="pic" idx="1"/>
          </p:nvPr>
        </p:nvSpPr>
        <p:spPr>
          <a:xfrm>
            <a:off x="5063319" y="657103"/>
            <a:ext cx="6483687" cy="555590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609601" y="2826137"/>
            <a:ext cx="3585586"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59943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956D-CB73-C986-F100-46487310D11E}"/>
              </a:ext>
            </a:extLst>
          </p:cNvPr>
          <p:cNvSpPr>
            <a:spLocks noGrp="1"/>
          </p:cNvSpPr>
          <p:nvPr>
            <p:ph type="title"/>
          </p:nvPr>
        </p:nvSpPr>
        <p:spPr>
          <a:xfrm>
            <a:off x="612648" y="548640"/>
            <a:ext cx="10515600" cy="1132258"/>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423E6A-A07C-BF0D-EA30-9A8A854E48F1}"/>
              </a:ext>
            </a:extLst>
          </p:cNvPr>
          <p:cNvSpPr>
            <a:spLocks noGrp="1"/>
          </p:cNvSpPr>
          <p:nvPr>
            <p:ph type="body" orient="vert" idx="1"/>
          </p:nvPr>
        </p:nvSpPr>
        <p:spPr>
          <a:xfrm>
            <a:off x="612648" y="1680898"/>
            <a:ext cx="10515600" cy="44960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C9908-8F95-8DFC-72CC-158552B56735}"/>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2C26C9BE-9060-50CB-2BB7-07307FF89A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4A835B-97D3-BC22-F0B8-4986D463627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1821280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5B0252-346C-F6F4-3642-19F571550D45}"/>
              </a:ext>
            </a:extLst>
          </p:cNvPr>
          <p:cNvSpPr>
            <a:spLocks noGrp="1"/>
          </p:cNvSpPr>
          <p:nvPr>
            <p:ph type="title" orient="vert"/>
          </p:nvPr>
        </p:nvSpPr>
        <p:spPr>
          <a:xfrm>
            <a:off x="9634888" y="578497"/>
            <a:ext cx="2047037" cy="559846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98DA36-7351-9D6A-518B-678AB8A507D3}"/>
              </a:ext>
            </a:extLst>
          </p:cNvPr>
          <p:cNvSpPr>
            <a:spLocks noGrp="1"/>
          </p:cNvSpPr>
          <p:nvPr>
            <p:ph type="body" orient="vert" idx="1"/>
          </p:nvPr>
        </p:nvSpPr>
        <p:spPr>
          <a:xfrm>
            <a:off x="838200" y="578497"/>
            <a:ext cx="8796688" cy="55984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6BDFF-D746-836C-04B8-CA89AD5D1466}"/>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919AA929-A9E6-FF9C-0C59-177F892D6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16D893-7E81-90DC-4139-7687B39C3AC8}"/>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365798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3280258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650926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D06AF-EF87-8489-2C82-DEB90B7EFE0C}"/>
              </a:ext>
            </a:extLst>
          </p:cNvPr>
          <p:cNvSpPr>
            <a:spLocks noGrp="1"/>
          </p:cNvSpPr>
          <p:nvPr>
            <p:ph type="title"/>
          </p:nvPr>
        </p:nvSpPr>
        <p:spPr>
          <a:xfrm>
            <a:off x="603381" y="553616"/>
            <a:ext cx="8273140" cy="4008859"/>
          </a:xfrm>
        </p:spPr>
        <p:txBody>
          <a:bodyPr anchor="t">
            <a:normAutofit/>
          </a:bodyPr>
          <a:lstStyle>
            <a:lvl1pPr>
              <a:defRPr sz="5400" cap="all" baseline="0"/>
            </a:lvl1pPr>
          </a:lstStyle>
          <a:p>
            <a:r>
              <a:rPr lang="en-US"/>
              <a:t>Click to edit Master title style</a:t>
            </a:r>
          </a:p>
        </p:txBody>
      </p:sp>
      <p:sp>
        <p:nvSpPr>
          <p:cNvPr id="3" name="Text Placeholder 2">
            <a:extLst>
              <a:ext uri="{FF2B5EF4-FFF2-40B4-BE49-F238E27FC236}">
                <a16:creationId xmlns:a16="http://schemas.microsoft.com/office/drawing/2014/main" id="{308E5678-CA38-1318-9EA2-5E0A4F9A59BA}"/>
              </a:ext>
            </a:extLst>
          </p:cNvPr>
          <p:cNvSpPr>
            <a:spLocks noGrp="1"/>
          </p:cNvSpPr>
          <p:nvPr>
            <p:ph type="body" idx="1"/>
          </p:nvPr>
        </p:nvSpPr>
        <p:spPr>
          <a:xfrm>
            <a:off x="603380" y="4589463"/>
            <a:ext cx="8273140" cy="1384617"/>
          </a:xfrm>
        </p:spPr>
        <p:txBody>
          <a:bodyPr anchor="b">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E99186-7E5A-60AF-DE69-5C7DA71611AB}"/>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82FA13D1-1FBA-E820-323B-77B41F1A66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39BE85-85F6-4636-C651-D87CC969A49E}"/>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792512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612648" y="548640"/>
            <a:ext cx="10741152" cy="113225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72E861E-DFBA-B4AA-9356-CDE3D3F57C04}"/>
              </a:ext>
            </a:extLst>
          </p:cNvPr>
          <p:cNvSpPr>
            <a:spLocks noGrp="1"/>
          </p:cNvSpPr>
          <p:nvPr>
            <p:ph sz="half" idx="1"/>
          </p:nvPr>
        </p:nvSpPr>
        <p:spPr>
          <a:xfrm>
            <a:off x="612648"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1D7538-EC5A-3EE7-176F-A58920C507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452916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609600" y="547396"/>
            <a:ext cx="10745788" cy="114329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609600" y="1685735"/>
            <a:ext cx="5157787"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DA52B0-7419-A946-4523-6D34BCAD26D1}"/>
              </a:ext>
            </a:extLst>
          </p:cNvPr>
          <p:cNvSpPr>
            <a:spLocks noGrp="1"/>
          </p:cNvSpPr>
          <p:nvPr>
            <p:ph sz="half" idx="2"/>
          </p:nvPr>
        </p:nvSpPr>
        <p:spPr>
          <a:xfrm>
            <a:off x="609600" y="2386894"/>
            <a:ext cx="5157787"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172200" y="1685735"/>
            <a:ext cx="5183188"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BAE980-E611-98B5-04E9-DE4584B0E33F}"/>
              </a:ext>
            </a:extLst>
          </p:cNvPr>
          <p:cNvSpPr>
            <a:spLocks noGrp="1"/>
          </p:cNvSpPr>
          <p:nvPr>
            <p:ph sz="quarter" idx="4"/>
          </p:nvPr>
        </p:nvSpPr>
        <p:spPr>
          <a:xfrm>
            <a:off x="6172199" y="2386894"/>
            <a:ext cx="5183189"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9835750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484231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186507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42C72-FBF8-6F33-AC01-1E6B699928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573197D3-42CA-EBEC-C176-83E4535CD6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434DC1-9106-C3C7-D955-735A19618816}"/>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FE42A3A4-C460-4EF3-8425-617F1996422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84882C6-7CA9-EB71-0D14-7EF095DA7F14}"/>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1984392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597160" y="553616"/>
            <a:ext cx="3595634" cy="1757505"/>
          </a:xfrm>
        </p:spPr>
        <p:txBody>
          <a:bodyPr anchor="t">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4708" y="553616"/>
            <a:ext cx="6279741" cy="548640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597160" y="2311121"/>
            <a:ext cx="3595634" cy="3728895"/>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7123534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594360" y="557784"/>
            <a:ext cx="3595634" cy="2212313"/>
          </a:xfrm>
        </p:spPr>
        <p:txBody>
          <a:bodyPr anchor="t">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571C769-CEC8-962A-01E6-15B0E056791E}"/>
              </a:ext>
            </a:extLst>
          </p:cNvPr>
          <p:cNvSpPr>
            <a:spLocks noGrp="1"/>
          </p:cNvSpPr>
          <p:nvPr>
            <p:ph type="pic" idx="1"/>
          </p:nvPr>
        </p:nvSpPr>
        <p:spPr>
          <a:xfrm>
            <a:off x="5063319" y="657103"/>
            <a:ext cx="6483687" cy="555590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609601" y="2826137"/>
            <a:ext cx="3585586"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59943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956D-CB73-C986-F100-46487310D11E}"/>
              </a:ext>
            </a:extLst>
          </p:cNvPr>
          <p:cNvSpPr>
            <a:spLocks noGrp="1"/>
          </p:cNvSpPr>
          <p:nvPr>
            <p:ph type="title"/>
          </p:nvPr>
        </p:nvSpPr>
        <p:spPr>
          <a:xfrm>
            <a:off x="612648" y="548640"/>
            <a:ext cx="10515600" cy="1132258"/>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423E6A-A07C-BF0D-EA30-9A8A854E48F1}"/>
              </a:ext>
            </a:extLst>
          </p:cNvPr>
          <p:cNvSpPr>
            <a:spLocks noGrp="1"/>
          </p:cNvSpPr>
          <p:nvPr>
            <p:ph type="body" orient="vert" idx="1"/>
          </p:nvPr>
        </p:nvSpPr>
        <p:spPr>
          <a:xfrm>
            <a:off x="612648" y="1680898"/>
            <a:ext cx="10515600" cy="44960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C9908-8F95-8DFC-72CC-158552B56735}"/>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2C26C9BE-9060-50CB-2BB7-07307FF89A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4A835B-97D3-BC22-F0B8-4986D463627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1821280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5B0252-346C-F6F4-3642-19F571550D45}"/>
              </a:ext>
            </a:extLst>
          </p:cNvPr>
          <p:cNvSpPr>
            <a:spLocks noGrp="1"/>
          </p:cNvSpPr>
          <p:nvPr>
            <p:ph type="title" orient="vert"/>
          </p:nvPr>
        </p:nvSpPr>
        <p:spPr>
          <a:xfrm>
            <a:off x="9634888" y="578497"/>
            <a:ext cx="2047037" cy="559846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98DA36-7351-9D6A-518B-678AB8A507D3}"/>
              </a:ext>
            </a:extLst>
          </p:cNvPr>
          <p:cNvSpPr>
            <a:spLocks noGrp="1"/>
          </p:cNvSpPr>
          <p:nvPr>
            <p:ph type="body" orient="vert" idx="1"/>
          </p:nvPr>
        </p:nvSpPr>
        <p:spPr>
          <a:xfrm>
            <a:off x="838200" y="578497"/>
            <a:ext cx="8796688" cy="55984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6BDFF-D746-836C-04B8-CA89AD5D1466}"/>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919AA929-A9E6-FF9C-0C59-177F892D6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16D893-7E81-90DC-4139-7687B39C3AC8}"/>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365798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2301923" y="1122363"/>
            <a:ext cx="7588155" cy="2621154"/>
          </a:xfrm>
        </p:spPr>
        <p:txBody>
          <a:bodyPr anchor="b">
            <a:normAutofit/>
          </a:bodyPr>
          <a:lstStyle>
            <a:lvl1pPr algn="ctr">
              <a:defRPr sz="4000"/>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2301923" y="3843708"/>
            <a:ext cx="7588155" cy="1414091"/>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3280258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650926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D06AF-EF87-8489-2C82-DEB90B7EFE0C}"/>
              </a:ext>
            </a:extLst>
          </p:cNvPr>
          <p:cNvSpPr>
            <a:spLocks noGrp="1"/>
          </p:cNvSpPr>
          <p:nvPr>
            <p:ph type="title"/>
          </p:nvPr>
        </p:nvSpPr>
        <p:spPr>
          <a:xfrm>
            <a:off x="603381" y="553616"/>
            <a:ext cx="8273140" cy="4008859"/>
          </a:xfrm>
        </p:spPr>
        <p:txBody>
          <a:bodyPr anchor="t">
            <a:normAutofit/>
          </a:bodyPr>
          <a:lstStyle>
            <a:lvl1pPr>
              <a:defRPr sz="5400" cap="all" baseline="0"/>
            </a:lvl1pPr>
          </a:lstStyle>
          <a:p>
            <a:r>
              <a:rPr lang="en-US"/>
              <a:t>Click to edit Master title style</a:t>
            </a:r>
          </a:p>
        </p:txBody>
      </p:sp>
      <p:sp>
        <p:nvSpPr>
          <p:cNvPr id="3" name="Text Placeholder 2">
            <a:extLst>
              <a:ext uri="{FF2B5EF4-FFF2-40B4-BE49-F238E27FC236}">
                <a16:creationId xmlns:a16="http://schemas.microsoft.com/office/drawing/2014/main" id="{308E5678-CA38-1318-9EA2-5E0A4F9A59BA}"/>
              </a:ext>
            </a:extLst>
          </p:cNvPr>
          <p:cNvSpPr>
            <a:spLocks noGrp="1"/>
          </p:cNvSpPr>
          <p:nvPr>
            <p:ph type="body" idx="1"/>
          </p:nvPr>
        </p:nvSpPr>
        <p:spPr>
          <a:xfrm>
            <a:off x="603380" y="4589463"/>
            <a:ext cx="8273140" cy="1384617"/>
          </a:xfrm>
        </p:spPr>
        <p:txBody>
          <a:bodyPr anchor="b">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E99186-7E5A-60AF-DE69-5C7DA71611AB}"/>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82FA13D1-1FBA-E820-323B-77B41F1A66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39BE85-85F6-4636-C651-D87CC969A49E}"/>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7925125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612648" y="548640"/>
            <a:ext cx="10741152" cy="113225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72E861E-DFBA-B4AA-9356-CDE3D3F57C04}"/>
              </a:ext>
            </a:extLst>
          </p:cNvPr>
          <p:cNvSpPr>
            <a:spLocks noGrp="1"/>
          </p:cNvSpPr>
          <p:nvPr>
            <p:ph sz="half" idx="1"/>
          </p:nvPr>
        </p:nvSpPr>
        <p:spPr>
          <a:xfrm>
            <a:off x="612648"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1D7538-EC5A-3EE7-176F-A58920C507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452916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609600" y="547396"/>
            <a:ext cx="10745788" cy="114329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609600" y="1685735"/>
            <a:ext cx="5157787"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DA52B0-7419-A946-4523-6D34BCAD26D1}"/>
              </a:ext>
            </a:extLst>
          </p:cNvPr>
          <p:cNvSpPr>
            <a:spLocks noGrp="1"/>
          </p:cNvSpPr>
          <p:nvPr>
            <p:ph sz="half" idx="2"/>
          </p:nvPr>
        </p:nvSpPr>
        <p:spPr>
          <a:xfrm>
            <a:off x="609600" y="2386894"/>
            <a:ext cx="5157787"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172200" y="1685735"/>
            <a:ext cx="5183188"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BAE980-E611-98B5-04E9-DE4584B0E33F}"/>
              </a:ext>
            </a:extLst>
          </p:cNvPr>
          <p:cNvSpPr>
            <a:spLocks noGrp="1"/>
          </p:cNvSpPr>
          <p:nvPr>
            <p:ph sz="quarter" idx="4"/>
          </p:nvPr>
        </p:nvSpPr>
        <p:spPr>
          <a:xfrm>
            <a:off x="6172199" y="2386894"/>
            <a:ext cx="5183189" cy="37650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19835750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484231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C8C3F-6673-7678-9682-B386A5ABC3D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EBEA72F-EC28-BA92-B9CD-C9557EDD46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DFAC6CD2-99AE-78A3-A384-615F8145875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955BDCBB-C5F8-B4CC-EB16-C623312B81AD}"/>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6" name="Footer Placeholder 5">
            <a:extLst>
              <a:ext uri="{FF2B5EF4-FFF2-40B4-BE49-F238E27FC236}">
                <a16:creationId xmlns:a16="http://schemas.microsoft.com/office/drawing/2014/main" id="{A1A2E243-846F-44FE-732F-69F942AF7F9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4FE4926-8D30-9A84-04CF-A13E1E6A152D}"/>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4101372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1865072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597160" y="553616"/>
            <a:ext cx="3595634" cy="1757505"/>
          </a:xfrm>
        </p:spPr>
        <p:txBody>
          <a:bodyPr anchor="t">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4708" y="553616"/>
            <a:ext cx="6279741" cy="548640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597160" y="2311121"/>
            <a:ext cx="3595634" cy="3728895"/>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7123534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594360" y="557784"/>
            <a:ext cx="3595634" cy="2212313"/>
          </a:xfrm>
        </p:spPr>
        <p:txBody>
          <a:bodyPr anchor="t">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571C769-CEC8-962A-01E6-15B0E056791E}"/>
              </a:ext>
            </a:extLst>
          </p:cNvPr>
          <p:cNvSpPr>
            <a:spLocks noGrp="1"/>
          </p:cNvSpPr>
          <p:nvPr>
            <p:ph type="pic" idx="1"/>
          </p:nvPr>
        </p:nvSpPr>
        <p:spPr>
          <a:xfrm>
            <a:off x="5063319" y="657103"/>
            <a:ext cx="6483687" cy="555590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609601" y="2826137"/>
            <a:ext cx="3585586"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599435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956D-CB73-C986-F100-46487310D11E}"/>
              </a:ext>
            </a:extLst>
          </p:cNvPr>
          <p:cNvSpPr>
            <a:spLocks noGrp="1"/>
          </p:cNvSpPr>
          <p:nvPr>
            <p:ph type="title"/>
          </p:nvPr>
        </p:nvSpPr>
        <p:spPr>
          <a:xfrm>
            <a:off x="612648" y="548640"/>
            <a:ext cx="10515600" cy="1132258"/>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423E6A-A07C-BF0D-EA30-9A8A854E48F1}"/>
              </a:ext>
            </a:extLst>
          </p:cNvPr>
          <p:cNvSpPr>
            <a:spLocks noGrp="1"/>
          </p:cNvSpPr>
          <p:nvPr>
            <p:ph type="body" orient="vert" idx="1"/>
          </p:nvPr>
        </p:nvSpPr>
        <p:spPr>
          <a:xfrm>
            <a:off x="612648" y="1680898"/>
            <a:ext cx="10515600" cy="44960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C9908-8F95-8DFC-72CC-158552B56735}"/>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2C26C9BE-9060-50CB-2BB7-07307FF89A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4A835B-97D3-BC22-F0B8-4986D4636271}"/>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2182128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5B0252-346C-F6F4-3642-19F571550D45}"/>
              </a:ext>
            </a:extLst>
          </p:cNvPr>
          <p:cNvSpPr>
            <a:spLocks noGrp="1"/>
          </p:cNvSpPr>
          <p:nvPr>
            <p:ph type="title" orient="vert"/>
          </p:nvPr>
        </p:nvSpPr>
        <p:spPr>
          <a:xfrm>
            <a:off x="9634888" y="578497"/>
            <a:ext cx="2047037" cy="559846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98DA36-7351-9D6A-518B-678AB8A507D3}"/>
              </a:ext>
            </a:extLst>
          </p:cNvPr>
          <p:cNvSpPr>
            <a:spLocks noGrp="1"/>
          </p:cNvSpPr>
          <p:nvPr>
            <p:ph type="body" orient="vert" idx="1"/>
          </p:nvPr>
        </p:nvSpPr>
        <p:spPr>
          <a:xfrm>
            <a:off x="838200" y="578497"/>
            <a:ext cx="8796688" cy="55984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6BDFF-D746-836C-04B8-CA89AD5D1466}"/>
              </a:ext>
            </a:extLst>
          </p:cNvPr>
          <p:cNvSpPr>
            <a:spLocks noGrp="1"/>
          </p:cNvSpPr>
          <p:nvPr>
            <p:ph type="dt" sz="half" idx="10"/>
          </p:nvPr>
        </p:nvSpPr>
        <p:spPr/>
        <p:txBody>
          <a:body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919AA929-A9E6-FF9C-0C59-177F892D6A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16D893-7E81-90DC-4139-7687B39C3AC8}"/>
              </a:ext>
            </a:extLst>
          </p:cNvPr>
          <p:cNvSpPr>
            <a:spLocks noGrp="1"/>
          </p:cNvSpPr>
          <p:nvPr>
            <p:ph type="sldNum" sz="quarter" idx="12"/>
          </p:nvPr>
        </p:nvSpPr>
        <p:spPr/>
        <p:txBody>
          <a:bodyPr/>
          <a:lstStyle/>
          <a:p>
            <a:fld id="{FA4FCA09-A334-4A38-8A78-E51DCD588AB3}" type="slidenum">
              <a:rPr lang="en-US" smtClean="0"/>
              <a:t>‹#›</a:t>
            </a:fld>
            <a:endParaRPr lang="en-US"/>
          </a:p>
        </p:txBody>
      </p:sp>
    </p:spTree>
    <p:extLst>
      <p:ext uri="{BB962C8B-B14F-4D97-AF65-F5344CB8AC3E}">
        <p14:creationId xmlns:p14="http://schemas.microsoft.com/office/powerpoint/2010/main" val="3365798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96147-227A-AFA5-7655-4F91B515D4EA}"/>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E2AB4639-5CD2-F403-D384-707AE86C5F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DFE1E4-465A-C082-9A2E-7761337376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BA3ACB23-1DC2-3267-B10C-C2177B3D9D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9A11E9-995E-CC71-5599-B6835A881E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EB1C3B51-73AC-61EE-76B2-530045890680}"/>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8" name="Footer Placeholder 7">
            <a:extLst>
              <a:ext uri="{FF2B5EF4-FFF2-40B4-BE49-F238E27FC236}">
                <a16:creationId xmlns:a16="http://schemas.microsoft.com/office/drawing/2014/main" id="{1FD8526F-D328-77B8-C656-809E676AFBF8}"/>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58A11413-C349-92EF-75A1-00D5F3B9FF48}"/>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32452448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7251B-6F8E-D1FB-F445-83A849888BBB}"/>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DABA29E7-65A3-BA03-6D25-AC69D9D25CC9}"/>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4" name="Footer Placeholder 3">
            <a:extLst>
              <a:ext uri="{FF2B5EF4-FFF2-40B4-BE49-F238E27FC236}">
                <a16:creationId xmlns:a16="http://schemas.microsoft.com/office/drawing/2014/main" id="{689A9D46-EC1E-26CA-4E0E-B284A5366109}"/>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34EF085B-850E-0466-4B61-B02EF65280CB}"/>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1163605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36E3C8-213A-2545-D98C-3DBDBC5EA442}"/>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3" name="Footer Placeholder 2">
            <a:extLst>
              <a:ext uri="{FF2B5EF4-FFF2-40B4-BE49-F238E27FC236}">
                <a16:creationId xmlns:a16="http://schemas.microsoft.com/office/drawing/2014/main" id="{571363D3-799A-068A-C045-F9FF855B3F23}"/>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10145406-9BE7-D15B-8D70-A16360B9B285}"/>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1729043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D716B-DA5E-E125-581C-BCDEFFA26B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61D2B2F9-EA3B-997E-C4EB-B536A85F10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A58F6381-D293-B360-D77D-621CF269A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650920-A87B-977D-DC4B-6A3C559EB3E2}"/>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6" name="Footer Placeholder 5">
            <a:extLst>
              <a:ext uri="{FF2B5EF4-FFF2-40B4-BE49-F238E27FC236}">
                <a16:creationId xmlns:a16="http://schemas.microsoft.com/office/drawing/2014/main" id="{19030086-843C-EB98-C806-E09C65CAF366}"/>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82BB0B42-52C2-DF6E-E93C-DC6BAD373655}"/>
              </a:ext>
            </a:extLst>
          </p:cNvPr>
          <p:cNvSpPr>
            <a:spLocks noGrp="1"/>
          </p:cNvSpPr>
          <p:nvPr>
            <p:ph type="sldNum" sz="quarter" idx="12"/>
          </p:nvPr>
        </p:nvSpPr>
        <p:spPr/>
        <p:txBody>
          <a:bodyPr/>
          <a:lstStyle/>
          <a:p>
            <a:fld id="{BF85D8DF-D622-436D-9E6E-9B372F7963C7}" type="slidenum">
              <a:rPr lang="en-AU" smtClean="0"/>
              <a:t>‹#›</a:t>
            </a:fld>
            <a:endParaRPr lang="en-AU"/>
          </a:p>
        </p:txBody>
      </p:sp>
    </p:spTree>
    <p:extLst>
      <p:ext uri="{BB962C8B-B14F-4D97-AF65-F5344CB8AC3E}">
        <p14:creationId xmlns:p14="http://schemas.microsoft.com/office/powerpoint/2010/main" val="563637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751A9BD-9542-B92F-5423-12119D7B1A88}"/>
              </a:ext>
            </a:extLst>
          </p:cNvPr>
          <p:cNvGraphicFramePr>
            <a:graphicFrameLocks noChangeAspect="1"/>
          </p:cNvGraphicFramePr>
          <p:nvPr userDrawn="1">
            <p:custDataLst>
              <p:tags r:id="rId2"/>
            </p:custDataLst>
            <p:extLst>
              <p:ext uri="{D42A27DB-BD31-4B8C-83A1-F6EECF244321}">
                <p14:modId xmlns:p14="http://schemas.microsoft.com/office/powerpoint/2010/main" val="3427038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592" imgH="591" progId="TCLayout.ActiveDocument.1">
                  <p:embed/>
                </p:oleObj>
              </mc:Choice>
              <mc:Fallback>
                <p:oleObj name="think-cell Slide" r:id="rId4" imgW="592" imgH="591" progId="TCLayout.ActiveDocument.1">
                  <p:embed/>
                  <p:pic>
                    <p:nvPicPr>
                      <p:cNvPr id="8" name="think-cell data - do not delete" hidden="1">
                        <a:extLst>
                          <a:ext uri="{FF2B5EF4-FFF2-40B4-BE49-F238E27FC236}">
                            <a16:creationId xmlns:a16="http://schemas.microsoft.com/office/drawing/2014/main" id="{3751A9BD-9542-B92F-5423-12119D7B1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A157634-7303-9332-8F1D-4EA752DA4E69}"/>
              </a:ext>
            </a:extLst>
          </p:cNvPr>
          <p:cNvSpPr>
            <a:spLocks noGrp="1"/>
          </p:cNvSpPr>
          <p:nvPr>
            <p:ph type="dt" sz="half" idx="10"/>
          </p:nvPr>
        </p:nvSpPr>
        <p:spPr/>
        <p:txBody>
          <a:bodyPr/>
          <a:lstStyle/>
          <a:p>
            <a:fld id="{D86509D2-AD8F-4A5A-9321-77C01223D7A6}" type="datetimeFigureOut">
              <a:rPr lang="en-AU" smtClean="0"/>
              <a:t>31/08/2023</a:t>
            </a:fld>
            <a:endParaRPr lang="en-AU"/>
          </a:p>
        </p:txBody>
      </p:sp>
      <p:sp>
        <p:nvSpPr>
          <p:cNvPr id="6" name="Footer Placeholder 5">
            <a:extLst>
              <a:ext uri="{FF2B5EF4-FFF2-40B4-BE49-F238E27FC236}">
                <a16:creationId xmlns:a16="http://schemas.microsoft.com/office/drawing/2014/main" id="{9CAFA8ED-F9CD-EEBB-337B-B65162BAC19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B4B18CF-0A7F-70BF-B739-84E42278B404}"/>
              </a:ext>
            </a:extLst>
          </p:cNvPr>
          <p:cNvSpPr>
            <a:spLocks noGrp="1"/>
          </p:cNvSpPr>
          <p:nvPr>
            <p:ph type="sldNum" sz="quarter" idx="12"/>
          </p:nvPr>
        </p:nvSpPr>
        <p:spPr/>
        <p:txBody>
          <a:bodyPr/>
          <a:lstStyle/>
          <a:p>
            <a:fld id="{BF85D8DF-D622-436D-9E6E-9B372F7963C7}" type="slidenum">
              <a:rPr lang="en-AU" smtClean="0"/>
              <a:t>‹#›</a:t>
            </a:fld>
            <a:endParaRPr lang="en-AU"/>
          </a:p>
        </p:txBody>
      </p:sp>
      <p:pic>
        <p:nvPicPr>
          <p:cNvPr id="10" name="Picture 9">
            <a:extLst>
              <a:ext uri="{FF2B5EF4-FFF2-40B4-BE49-F238E27FC236}">
                <a16:creationId xmlns:a16="http://schemas.microsoft.com/office/drawing/2014/main" id="{05B10127-849B-1B6C-77FA-BDE1A6CE4F1F}"/>
              </a:ext>
            </a:extLst>
          </p:cNvPr>
          <p:cNvPicPr>
            <a:picLocks noChangeAspect="1"/>
          </p:cNvPicPr>
          <p:nvPr userDrawn="1"/>
        </p:nvPicPr>
        <p:blipFill>
          <a:blip r:embed="rId6">
            <a:alphaModFix amt="80000"/>
          </a:blip>
          <a:stretch>
            <a:fillRect/>
          </a:stretch>
        </p:blipFill>
        <p:spPr>
          <a:xfrm>
            <a:off x="5854045" y="2604527"/>
            <a:ext cx="6337956" cy="4253473"/>
          </a:xfrm>
          <a:prstGeom prst="rect">
            <a:avLst/>
          </a:prstGeom>
        </p:spPr>
      </p:pic>
      <p:pic>
        <p:nvPicPr>
          <p:cNvPr id="11" name="image4.png">
            <a:extLst>
              <a:ext uri="{FF2B5EF4-FFF2-40B4-BE49-F238E27FC236}">
                <a16:creationId xmlns:a16="http://schemas.microsoft.com/office/drawing/2014/main" id="{50CF9AF9-CFB9-F629-1F5C-76A0522EDA6E}"/>
              </a:ext>
            </a:extLst>
          </p:cNvPr>
          <p:cNvPicPr/>
          <p:nvPr userDrawn="1"/>
        </p:nvPicPr>
        <p:blipFill rotWithShape="1">
          <a:blip r:embed="rId7"/>
          <a:srcRect r="88082"/>
          <a:stretch/>
        </p:blipFill>
        <p:spPr>
          <a:xfrm>
            <a:off x="8630297" y="205734"/>
            <a:ext cx="503487" cy="460375"/>
          </a:xfrm>
          <a:prstGeom prst="rect">
            <a:avLst/>
          </a:prstGeom>
          <a:ln w="12700">
            <a:noFill/>
            <a:prstDash val="solid"/>
          </a:ln>
        </p:spPr>
      </p:pic>
      <p:sp>
        <p:nvSpPr>
          <p:cNvPr id="12" name="TextBox 11">
            <a:extLst>
              <a:ext uri="{FF2B5EF4-FFF2-40B4-BE49-F238E27FC236}">
                <a16:creationId xmlns:a16="http://schemas.microsoft.com/office/drawing/2014/main" id="{D8988609-786C-184A-CDD2-C6A53E256789}"/>
              </a:ext>
            </a:extLst>
          </p:cNvPr>
          <p:cNvSpPr txBox="1"/>
          <p:nvPr userDrawn="1"/>
        </p:nvSpPr>
        <p:spPr>
          <a:xfrm>
            <a:off x="9133784" y="205734"/>
            <a:ext cx="2686639" cy="461665"/>
          </a:xfrm>
          <a:prstGeom prst="rect">
            <a:avLst/>
          </a:prstGeom>
          <a:noFill/>
        </p:spPr>
        <p:txBody>
          <a:bodyPr wrap="square" rtlCol="0">
            <a:spAutoFit/>
          </a:bodyPr>
          <a:lstStyle/>
          <a:p>
            <a:r>
              <a:rPr lang="en-AU" sz="2400"/>
              <a:t>Wise Data Analytics</a:t>
            </a:r>
          </a:p>
        </p:txBody>
      </p:sp>
    </p:spTree>
    <p:extLst>
      <p:ext uri="{BB962C8B-B14F-4D97-AF65-F5344CB8AC3E}">
        <p14:creationId xmlns:p14="http://schemas.microsoft.com/office/powerpoint/2010/main" val="3518780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4.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4.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5.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5.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6.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6.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445E2E-DEE4-19F2-85F0-0F671386F8E4}"/>
              </a:ext>
            </a:extLst>
          </p:cNvPr>
          <p:cNvGraphicFramePr>
            <a:graphicFrameLocks noChangeAspect="1"/>
          </p:cNvGraphicFramePr>
          <p:nvPr userDrawn="1">
            <p:custDataLst>
              <p:tags r:id="rId14"/>
            </p:custDataLst>
            <p:extLst>
              <p:ext uri="{D42A27DB-BD31-4B8C-83A1-F6EECF244321}">
                <p14:modId xmlns:p14="http://schemas.microsoft.com/office/powerpoint/2010/main" val="280629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5" imgW="592" imgH="591" progId="TCLayout.ActiveDocument.1">
                  <p:embed/>
                </p:oleObj>
              </mc:Choice>
              <mc:Fallback>
                <p:oleObj name="think-cell Slide" r:id="rId15" imgW="592" imgH="591" progId="TCLayout.ActiveDocument.1">
                  <p:embed/>
                  <p:pic>
                    <p:nvPicPr>
                      <p:cNvPr id="8" name="think-cell data - do not delete" hidden="1">
                        <a:extLst>
                          <a:ext uri="{FF2B5EF4-FFF2-40B4-BE49-F238E27FC236}">
                            <a16:creationId xmlns:a16="http://schemas.microsoft.com/office/drawing/2014/main" id="{3B445E2E-DEE4-19F2-85F0-0F671386F8E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516E61-0283-F653-96D8-A3245CDD12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57E2803-2BF7-ABD7-C482-D7A3AD0399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58BEFA7-76AD-7556-358F-89DF849E0F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6509D2-AD8F-4A5A-9321-77C01223D7A6}" type="datetimeFigureOut">
              <a:rPr lang="en-AU" smtClean="0"/>
              <a:t>31/08/2023</a:t>
            </a:fld>
            <a:endParaRPr lang="en-AU"/>
          </a:p>
        </p:txBody>
      </p:sp>
      <p:sp>
        <p:nvSpPr>
          <p:cNvPr id="5" name="Footer Placeholder 4">
            <a:extLst>
              <a:ext uri="{FF2B5EF4-FFF2-40B4-BE49-F238E27FC236}">
                <a16:creationId xmlns:a16="http://schemas.microsoft.com/office/drawing/2014/main" id="{482849DE-FA5E-05B9-A942-B793F7748A1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A1F47CB8-7D90-C33E-D207-9A7044EB52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85D8DF-D622-436D-9E6E-9B372F7963C7}" type="slidenum">
              <a:rPr lang="en-AU" smtClean="0"/>
              <a:t>‹#›</a:t>
            </a:fld>
            <a:endParaRPr lang="en-AU"/>
          </a:p>
        </p:txBody>
      </p:sp>
    </p:spTree>
    <p:extLst>
      <p:ext uri="{BB962C8B-B14F-4D97-AF65-F5344CB8AC3E}">
        <p14:creationId xmlns:p14="http://schemas.microsoft.com/office/powerpoint/2010/main" val="16638977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242CB6-83C0-A86D-63A3-71F2C5CC5451}"/>
              </a:ext>
            </a:extLst>
          </p:cNvPr>
          <p:cNvGraphicFramePr>
            <a:graphicFrameLocks noChangeAspect="1"/>
          </p:cNvGraphicFramePr>
          <p:nvPr userDrawn="1">
            <p:custDataLst>
              <p:tags r:id="rId14"/>
            </p:custDataLst>
            <p:extLst>
              <p:ext uri="{D42A27DB-BD31-4B8C-83A1-F6EECF244321}">
                <p14:modId xmlns:p14="http://schemas.microsoft.com/office/powerpoint/2010/main" val="33331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15" imgW="592" imgH="591" progId="TCLayout.ActiveDocument.1">
                  <p:embed/>
                </p:oleObj>
              </mc:Choice>
              <mc:Fallback>
                <p:oleObj name="think-cell Slide" r:id="rId15" imgW="592" imgH="591" progId="TCLayout.ActiveDocument.1">
                  <p:embed/>
                  <p:pic>
                    <p:nvPicPr>
                      <p:cNvPr id="8" name="think-cell data - do not delete" hidden="1">
                        <a:extLst>
                          <a:ext uri="{FF2B5EF4-FFF2-40B4-BE49-F238E27FC236}">
                            <a16:creationId xmlns:a16="http://schemas.microsoft.com/office/drawing/2014/main" id="{71242CB6-83C0-A86D-63A3-71F2C5CC545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612648" y="548640"/>
            <a:ext cx="10653578" cy="113225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612647" y="1715532"/>
            <a:ext cx="10653579" cy="45938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137160" y="6453002"/>
            <a:ext cx="3494314" cy="365125"/>
          </a:xfrm>
          <a:prstGeom prst="rect">
            <a:avLst/>
          </a:prstGeom>
        </p:spPr>
        <p:txBody>
          <a:bodyPr vert="horz" lIns="91440" tIns="45720" rIns="91440" bIns="45720" rtlCol="0" anchor="ctr"/>
          <a:lstStyle>
            <a:lvl1pPr algn="l">
              <a:defRPr sz="900">
                <a:solidFill>
                  <a:schemeClr val="tx1"/>
                </a:solidFill>
              </a:defRPr>
            </a:lvl1p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76521" y="6453002"/>
            <a:ext cx="2805405" cy="365125"/>
          </a:xfrm>
          <a:prstGeom prst="rect">
            <a:avLst/>
          </a:prstGeom>
        </p:spPr>
        <p:txBody>
          <a:bodyPr vert="horz" lIns="91440" tIns="45720" rIns="91440" bIns="45720" rtlCol="0" anchor="ctr"/>
          <a:lstStyle>
            <a:lvl1pPr algn="r">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632162" y="6453002"/>
            <a:ext cx="429207" cy="365125"/>
          </a:xfrm>
          <a:prstGeom prst="rect">
            <a:avLst/>
          </a:prstGeom>
        </p:spPr>
        <p:txBody>
          <a:bodyPr vert="horz" lIns="91440" tIns="45720" rIns="91440" bIns="45720" rtlCol="0" anchor="ctr"/>
          <a:lstStyle>
            <a:lvl1pPr algn="r">
              <a:defRPr sz="900">
                <a:solidFill>
                  <a:schemeClr val="tx1"/>
                </a:solidFill>
              </a:defRPr>
            </a:lvl1pPr>
          </a:lstStyle>
          <a:p>
            <a:fld id="{FA4FCA09-A334-4A38-8A78-E51DCD588AB3}" type="slidenum">
              <a:rPr lang="en-US" smtClean="0"/>
              <a:t>‹#›</a:t>
            </a:fld>
            <a:endParaRPr lang="en-US"/>
          </a:p>
        </p:txBody>
      </p:sp>
    </p:spTree>
    <p:extLst>
      <p:ext uri="{BB962C8B-B14F-4D97-AF65-F5344CB8AC3E}">
        <p14:creationId xmlns:p14="http://schemas.microsoft.com/office/powerpoint/2010/main" val="125561333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68" r:id="rId6"/>
    <p:sldLayoutId id="2147483764" r:id="rId7"/>
    <p:sldLayoutId id="2147483765" r:id="rId8"/>
    <p:sldLayoutId id="2147483766" r:id="rId9"/>
    <p:sldLayoutId id="2147483767" r:id="rId10"/>
    <p:sldLayoutId id="2147483769" r:id="rId11"/>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7C930-10A3-595E-ED15-6693B2F133D8}"/>
              </a:ext>
            </a:extLst>
          </p:cNvPr>
          <p:cNvGraphicFramePr>
            <a:graphicFrameLocks noChangeAspect="1"/>
          </p:cNvGraphicFramePr>
          <p:nvPr userDrawn="1">
            <p:custDataLst>
              <p:tags r:id="rId14"/>
            </p:custDataLst>
            <p:extLst>
              <p:ext uri="{D42A27DB-BD31-4B8C-83A1-F6EECF244321}">
                <p14:modId xmlns:p14="http://schemas.microsoft.com/office/powerpoint/2010/main" val="345839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15" imgW="592" imgH="591" progId="TCLayout.ActiveDocument.1">
                  <p:embed/>
                </p:oleObj>
              </mc:Choice>
              <mc:Fallback>
                <p:oleObj name="think-cell Slide" r:id="rId15" imgW="592" imgH="591" progId="TCLayout.ActiveDocument.1">
                  <p:embed/>
                  <p:pic>
                    <p:nvPicPr>
                      <p:cNvPr id="8" name="think-cell data - do not delete" hidden="1">
                        <a:extLst>
                          <a:ext uri="{FF2B5EF4-FFF2-40B4-BE49-F238E27FC236}">
                            <a16:creationId xmlns:a16="http://schemas.microsoft.com/office/drawing/2014/main" id="{1EC7C930-10A3-595E-ED15-6693B2F133D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612648" y="548640"/>
            <a:ext cx="10653578" cy="113225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612647" y="1715532"/>
            <a:ext cx="10653579" cy="45938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137160" y="6453002"/>
            <a:ext cx="3494314" cy="365125"/>
          </a:xfrm>
          <a:prstGeom prst="rect">
            <a:avLst/>
          </a:prstGeom>
        </p:spPr>
        <p:txBody>
          <a:bodyPr vert="horz" lIns="91440" tIns="45720" rIns="91440" bIns="45720" rtlCol="0" anchor="ctr"/>
          <a:lstStyle>
            <a:lvl1pPr algn="l">
              <a:defRPr sz="900">
                <a:solidFill>
                  <a:schemeClr val="tx1"/>
                </a:solidFill>
              </a:defRPr>
            </a:lvl1p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76521" y="6453002"/>
            <a:ext cx="2805405" cy="365125"/>
          </a:xfrm>
          <a:prstGeom prst="rect">
            <a:avLst/>
          </a:prstGeom>
        </p:spPr>
        <p:txBody>
          <a:bodyPr vert="horz" lIns="91440" tIns="45720" rIns="91440" bIns="45720" rtlCol="0" anchor="ctr"/>
          <a:lstStyle>
            <a:lvl1pPr algn="r">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632162" y="6453002"/>
            <a:ext cx="429207" cy="365125"/>
          </a:xfrm>
          <a:prstGeom prst="rect">
            <a:avLst/>
          </a:prstGeom>
        </p:spPr>
        <p:txBody>
          <a:bodyPr vert="horz" lIns="91440" tIns="45720" rIns="91440" bIns="45720" rtlCol="0" anchor="ctr"/>
          <a:lstStyle>
            <a:lvl1pPr algn="r">
              <a:defRPr sz="900">
                <a:solidFill>
                  <a:schemeClr val="tx1"/>
                </a:solidFill>
              </a:defRPr>
            </a:lvl1pPr>
          </a:lstStyle>
          <a:p>
            <a:fld id="{FA4FCA09-A334-4A38-8A78-E51DCD588AB3}" type="slidenum">
              <a:rPr lang="en-US" smtClean="0"/>
              <a:t>‹#›</a:t>
            </a:fld>
            <a:endParaRPr lang="en-US"/>
          </a:p>
        </p:txBody>
      </p:sp>
    </p:spTree>
    <p:extLst>
      <p:ext uri="{BB962C8B-B14F-4D97-AF65-F5344CB8AC3E}">
        <p14:creationId xmlns:p14="http://schemas.microsoft.com/office/powerpoint/2010/main" val="125561333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576438-8148-1063-F4CE-797DE5949704}"/>
              </a:ext>
            </a:extLst>
          </p:cNvPr>
          <p:cNvGraphicFramePr>
            <a:graphicFrameLocks noChangeAspect="1"/>
          </p:cNvGraphicFramePr>
          <p:nvPr userDrawn="1">
            <p:custDataLst>
              <p:tags r:id="rId14"/>
            </p:custDataLst>
            <p:extLst>
              <p:ext uri="{D42A27DB-BD31-4B8C-83A1-F6EECF244321}">
                <p14:modId xmlns:p14="http://schemas.microsoft.com/office/powerpoint/2010/main" val="4183811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15" imgW="592" imgH="591" progId="TCLayout.ActiveDocument.1">
                  <p:embed/>
                </p:oleObj>
              </mc:Choice>
              <mc:Fallback>
                <p:oleObj name="think-cell Slide" r:id="rId15" imgW="592" imgH="591" progId="TCLayout.ActiveDocument.1">
                  <p:embed/>
                  <p:pic>
                    <p:nvPicPr>
                      <p:cNvPr id="8" name="think-cell data - do not delete" hidden="1">
                        <a:extLst>
                          <a:ext uri="{FF2B5EF4-FFF2-40B4-BE49-F238E27FC236}">
                            <a16:creationId xmlns:a16="http://schemas.microsoft.com/office/drawing/2014/main" id="{BF576438-8148-1063-F4CE-797DE594970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612648" y="548640"/>
            <a:ext cx="10653578" cy="113225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612647" y="1715532"/>
            <a:ext cx="10653579" cy="45938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137160" y="6453002"/>
            <a:ext cx="3494314" cy="365125"/>
          </a:xfrm>
          <a:prstGeom prst="rect">
            <a:avLst/>
          </a:prstGeom>
        </p:spPr>
        <p:txBody>
          <a:bodyPr vert="horz" lIns="91440" tIns="45720" rIns="91440" bIns="45720" rtlCol="0" anchor="ctr"/>
          <a:lstStyle>
            <a:lvl1pPr algn="l">
              <a:defRPr sz="900">
                <a:solidFill>
                  <a:schemeClr val="tx1"/>
                </a:solidFill>
              </a:defRPr>
            </a:lvl1pPr>
          </a:lstStyle>
          <a:p>
            <a:fld id="{999A8DD2-C443-44AD-85B3-4CE72B962C5F}" type="datetimeFigureOut">
              <a:rPr lang="en-US" smtClean="0"/>
              <a:t>8/31/2023</a:t>
            </a:fld>
            <a:endParaRPr lang="en-US"/>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76521" y="6453002"/>
            <a:ext cx="2805405" cy="365125"/>
          </a:xfrm>
          <a:prstGeom prst="rect">
            <a:avLst/>
          </a:prstGeom>
        </p:spPr>
        <p:txBody>
          <a:bodyPr vert="horz" lIns="91440" tIns="45720" rIns="91440" bIns="45720" rtlCol="0" anchor="ctr"/>
          <a:lstStyle>
            <a:lvl1pPr algn="r">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632162" y="6453002"/>
            <a:ext cx="429207" cy="365125"/>
          </a:xfrm>
          <a:prstGeom prst="rect">
            <a:avLst/>
          </a:prstGeom>
        </p:spPr>
        <p:txBody>
          <a:bodyPr vert="horz" lIns="91440" tIns="45720" rIns="91440" bIns="45720" rtlCol="0" anchor="ctr"/>
          <a:lstStyle>
            <a:lvl1pPr algn="r">
              <a:defRPr sz="900">
                <a:solidFill>
                  <a:schemeClr val="tx1"/>
                </a:solidFill>
              </a:defRPr>
            </a:lvl1pPr>
          </a:lstStyle>
          <a:p>
            <a:fld id="{FA4FCA09-A334-4A38-8A78-E51DCD588AB3}" type="slidenum">
              <a:rPr lang="en-US" smtClean="0"/>
              <a:t>‹#›</a:t>
            </a:fld>
            <a:endParaRPr lang="en-US"/>
          </a:p>
        </p:txBody>
      </p:sp>
    </p:spTree>
    <p:extLst>
      <p:ext uri="{BB962C8B-B14F-4D97-AF65-F5344CB8AC3E}">
        <p14:creationId xmlns:p14="http://schemas.microsoft.com/office/powerpoint/2010/main" val="125561333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vmlDrawing" Target="../drawings/vmlDrawing19.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6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vmlDrawing" Target="../drawings/vmlDrawing23.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notesSlide" Target="../notesSlides/notesSlide6.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slideLayout" Target="../slideLayouts/slideLayout2.xml"/><Relationship Id="rId2" Type="http://schemas.openxmlformats.org/officeDocument/2006/relationships/tags" Target="../tags/tag67.xml"/><Relationship Id="rId16" Type="http://schemas.openxmlformats.org/officeDocument/2006/relationships/chart" Target="../charts/chart3.xml"/><Relationship Id="rId1" Type="http://schemas.openxmlformats.org/officeDocument/2006/relationships/vmlDrawing" Target="../drawings/vmlDrawing24.v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image" Target="../media/image1.emf"/><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7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8.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9.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0.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vmlDrawing" Target="../drawings/vmlDrawing30.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38.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vmlDrawing" Target="../drawings/vmlDrawing39.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vmlDrawing" Target="../drawings/vmlDrawing40.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oleObject" Target="../embeddings/oleObject10.bin"/><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slideLayout" Target="../slideLayouts/slideLayout2.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chart" Target="../charts/chart1.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image" Target="../media/image1.emf"/><Relationship Id="rId8" Type="http://schemas.openxmlformats.org/officeDocument/2006/relationships/tags" Target="../tags/tag1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vmlDrawing" Target="../drawings/vmlDrawing41.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42.vml"/><Relationship Id="rId6" Type="http://schemas.openxmlformats.org/officeDocument/2006/relationships/hyperlink" Target="https://www.grandviewresearch.com/industry-analysis/renewable-energy-market" TargetMode="Externa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vmlDrawing" Target="../drawings/vmlDrawing43.v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vmlDrawing" Target="../drawings/vmlDrawing44.vml"/><Relationship Id="rId6" Type="http://schemas.openxmlformats.org/officeDocument/2006/relationships/hyperlink" Target="https://www.irena.org/News/pressreleases/2022/Nov/Nine-new-countries-sign-up-for-Global-Offshore-Wind-Alliance-at-COP27" TargetMode="Externa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vmlDrawing" Target="../drawings/vmlDrawing45.v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vmlDrawing" Target="../drawings/vmlDrawing46.v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1.bin"/><Relationship Id="rId2" Type="http://schemas.openxmlformats.org/officeDocument/2006/relationships/tags" Target="../tags/tag42.xml"/><Relationship Id="rId16" Type="http://schemas.openxmlformats.org/officeDocument/2006/relationships/notesSlide" Target="../notesSlides/notesSlide2.xml"/><Relationship Id="rId20" Type="http://schemas.openxmlformats.org/officeDocument/2006/relationships/image" Target="../media/image5.png"/><Relationship Id="rId1" Type="http://schemas.openxmlformats.org/officeDocument/2006/relationships/vmlDrawing" Target="../drawings/vmlDrawing11.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Layout" Target="../slideLayouts/slideLayout2.xml"/><Relationship Id="rId10" Type="http://schemas.openxmlformats.org/officeDocument/2006/relationships/tags" Target="../tags/tag50.xml"/><Relationship Id="rId19" Type="http://schemas.openxmlformats.org/officeDocument/2006/relationships/chart" Target="../charts/chart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47.v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vmlDrawing" Target="../drawings/vmlDrawing48.v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101.xml"/><Relationship Id="rId1" Type="http://schemas.openxmlformats.org/officeDocument/2006/relationships/vmlDrawing" Target="../drawings/vmlDrawing49.v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102.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0.xml"/></Relationships>
</file>

<file path=ppt/slides/_rels/slide5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image" Target="../media/image1.emf"/><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oleObject" Target="../embeddings/oleObject51.bin"/><Relationship Id="rId2" Type="http://schemas.openxmlformats.org/officeDocument/2006/relationships/tags" Target="../tags/tag103.xml"/><Relationship Id="rId16" Type="http://schemas.openxmlformats.org/officeDocument/2006/relationships/slideLayout" Target="../slideLayouts/slideLayout2.xml"/><Relationship Id="rId1" Type="http://schemas.openxmlformats.org/officeDocument/2006/relationships/vmlDrawing" Target="../drawings/vmlDrawing51.v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tags" Target="../tags/tag116.xml"/><Relationship Id="rId10" Type="http://schemas.openxmlformats.org/officeDocument/2006/relationships/tags" Target="../tags/tag111.xml"/><Relationship Id="rId19" Type="http://schemas.openxmlformats.org/officeDocument/2006/relationships/chart" Target="../charts/chart4.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vmlDrawing" Target="../drawings/vmlDrawing52.v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4.xm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827019-07F0-4667-F7AA-243B343DEBF8}"/>
              </a:ext>
            </a:extLst>
          </p:cNvPr>
          <p:cNvGraphicFramePr>
            <a:graphicFrameLocks noChangeAspect="1"/>
          </p:cNvGraphicFramePr>
          <p:nvPr>
            <p:custDataLst>
              <p:tags r:id="rId2"/>
            </p:custDataLst>
            <p:extLst>
              <p:ext uri="{D42A27DB-BD31-4B8C-83A1-F6EECF244321}">
                <p14:modId xmlns:p14="http://schemas.microsoft.com/office/powerpoint/2010/main" val="2201122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66827019-07F0-4667-F7AA-243B343DEB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1032B9A-104D-A278-8E80-E399BA2718C8}"/>
              </a:ext>
            </a:extLst>
          </p:cNvPr>
          <p:cNvSpPr txBox="1"/>
          <p:nvPr/>
        </p:nvSpPr>
        <p:spPr>
          <a:xfrm>
            <a:off x="452060" y="2264717"/>
            <a:ext cx="3965825" cy="1569660"/>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U.S Wind Power Market: Investment decision </a:t>
            </a:r>
          </a:p>
        </p:txBody>
      </p:sp>
      <p:sp>
        <p:nvSpPr>
          <p:cNvPr id="3" name="TextBox 2">
            <a:extLst>
              <a:ext uri="{FF2B5EF4-FFF2-40B4-BE49-F238E27FC236}">
                <a16:creationId xmlns:a16="http://schemas.microsoft.com/office/drawing/2014/main" id="{716DA34B-A3C3-39BF-06A5-AFF51923471A}"/>
              </a:ext>
            </a:extLst>
          </p:cNvPr>
          <p:cNvSpPr txBox="1"/>
          <p:nvPr/>
        </p:nvSpPr>
        <p:spPr>
          <a:xfrm>
            <a:off x="452060" y="4338384"/>
            <a:ext cx="3965825" cy="400110"/>
          </a:xfrm>
          <a:prstGeom prst="rect">
            <a:avLst/>
          </a:prstGeom>
          <a:noFill/>
        </p:spPr>
        <p:txBody>
          <a:bodyPr wrap="square" rtlCol="0">
            <a:spAutoFit/>
          </a:bodyPr>
          <a:lstStyle/>
          <a:p>
            <a:r>
              <a:rPr lang="en-AU" sz="2000">
                <a:latin typeface="Segoe UI Semibold" panose="020B0702040204020203" pitchFamily="34" charset="0"/>
                <a:cs typeface="Segoe UI Semibold" panose="020B0702040204020203" pitchFamily="34" charset="0"/>
              </a:rPr>
              <a:t>WOW! Investment Committee</a:t>
            </a:r>
          </a:p>
        </p:txBody>
      </p:sp>
      <p:sp>
        <p:nvSpPr>
          <p:cNvPr id="5" name="TextBox 4">
            <a:extLst>
              <a:ext uri="{FF2B5EF4-FFF2-40B4-BE49-F238E27FC236}">
                <a16:creationId xmlns:a16="http://schemas.microsoft.com/office/drawing/2014/main" id="{C2514C8E-5E32-D000-57DA-B3D2F70F6143}"/>
              </a:ext>
            </a:extLst>
          </p:cNvPr>
          <p:cNvSpPr txBox="1"/>
          <p:nvPr/>
        </p:nvSpPr>
        <p:spPr>
          <a:xfrm>
            <a:off x="452060" y="4695574"/>
            <a:ext cx="3965825" cy="276999"/>
          </a:xfrm>
          <a:prstGeom prst="rect">
            <a:avLst/>
          </a:prstGeom>
          <a:noFill/>
        </p:spPr>
        <p:txBody>
          <a:bodyPr wrap="square" rtlCol="0">
            <a:spAutoFit/>
          </a:bodyPr>
          <a:lstStyle/>
          <a:p>
            <a:r>
              <a:rPr lang="en-AU" sz="1200">
                <a:latin typeface="Segoe UI Light" panose="020B0502040204020203" pitchFamily="34" charset="0"/>
                <a:cs typeface="Segoe UI Light" panose="020B0502040204020203" pitchFamily="34" charset="0"/>
              </a:rPr>
              <a:t>September 2023</a:t>
            </a:r>
          </a:p>
        </p:txBody>
      </p:sp>
    </p:spTree>
    <p:extLst>
      <p:ext uri="{BB962C8B-B14F-4D97-AF65-F5344CB8AC3E}">
        <p14:creationId xmlns:p14="http://schemas.microsoft.com/office/powerpoint/2010/main" val="2498871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11382-3FB8-73E1-9B53-7B58EEE2EC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25911382-3FB8-73E1-9B53-7B58EEE2E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B57D8F3-220C-771F-0C3D-FA903D1E5FB1}"/>
              </a:ext>
            </a:extLst>
          </p:cNvPr>
          <p:cNvSpPr txBox="1"/>
          <p:nvPr/>
        </p:nvSpPr>
        <p:spPr>
          <a:xfrm>
            <a:off x="1273994" y="3202969"/>
            <a:ext cx="3369925" cy="1077218"/>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Operators Analysis</a:t>
            </a:r>
          </a:p>
        </p:txBody>
      </p:sp>
    </p:spTree>
    <p:extLst>
      <p:ext uri="{BB962C8B-B14F-4D97-AF65-F5344CB8AC3E}">
        <p14:creationId xmlns:p14="http://schemas.microsoft.com/office/powerpoint/2010/main" val="3977421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Operators Analysis | </a:t>
            </a:r>
            <a:r>
              <a:rPr lang="en-AU" sz="2400">
                <a:solidFill>
                  <a:schemeClr val="accent1"/>
                </a:solidFill>
                <a:latin typeface="Segoe UI Light" panose="020B0502040204020203" pitchFamily="34" charset="0"/>
                <a:cs typeface="Segoe UI Light" panose="020B0502040204020203" pitchFamily="34" charset="0"/>
              </a:rPr>
              <a:t>Key players in the market </a:t>
            </a:r>
          </a:p>
        </p:txBody>
      </p:sp>
      <p:pic>
        <p:nvPicPr>
          <p:cNvPr id="2" name="Picture 1" descr="A screenshot of a graph&#10;&#10;Description automatically generated">
            <a:extLst>
              <a:ext uri="{FF2B5EF4-FFF2-40B4-BE49-F238E27FC236}">
                <a16:creationId xmlns:a16="http://schemas.microsoft.com/office/drawing/2014/main" id="{47C3D12E-F08A-B724-CC5D-460181DD5001}"/>
              </a:ext>
            </a:extLst>
          </p:cNvPr>
          <p:cNvPicPr>
            <a:picLocks noChangeAspect="1"/>
          </p:cNvPicPr>
          <p:nvPr/>
        </p:nvPicPr>
        <p:blipFill rotWithShape="1">
          <a:blip r:embed="rId6"/>
          <a:srcRect t="4755"/>
          <a:stretch/>
        </p:blipFill>
        <p:spPr>
          <a:xfrm>
            <a:off x="4206524" y="1103317"/>
            <a:ext cx="7284554" cy="5470625"/>
          </a:xfrm>
          <a:prstGeom prst="rect">
            <a:avLst/>
          </a:prstGeom>
        </p:spPr>
      </p:pic>
      <p:sp>
        <p:nvSpPr>
          <p:cNvPr id="3" name="TextBox 2">
            <a:extLst>
              <a:ext uri="{FF2B5EF4-FFF2-40B4-BE49-F238E27FC236}">
                <a16:creationId xmlns:a16="http://schemas.microsoft.com/office/drawing/2014/main" id="{AD81009E-9379-A431-BC36-CD2FDCFF5C67}"/>
              </a:ext>
            </a:extLst>
          </p:cNvPr>
          <p:cNvSpPr txBox="1"/>
          <p:nvPr/>
        </p:nvSpPr>
        <p:spPr>
          <a:xfrm>
            <a:off x="602202" y="1866462"/>
            <a:ext cx="3142306"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AU" sz="1200">
                <a:latin typeface="Segoe UI Light"/>
                <a:ea typeface="+mn-lt"/>
                <a:cs typeface="Segoe UI Light"/>
              </a:rPr>
              <a:t>Number of operators: 213</a:t>
            </a:r>
            <a:endParaRPr lang="en-US" sz="1200">
              <a:latin typeface="Segoe UI Light"/>
              <a:ea typeface="+mn-lt"/>
              <a:cs typeface="Segoe UI Light"/>
            </a:endParaRPr>
          </a:p>
          <a:p>
            <a:pPr marL="171450" indent="-171450">
              <a:buFont typeface="Arial" panose="020B0604020202020204" pitchFamily="34" charset="0"/>
              <a:buChar char="•"/>
            </a:pPr>
            <a:endParaRPr lang="en-US" sz="1200">
              <a:latin typeface="Segoe UI Light"/>
              <a:ea typeface="+mn-lt"/>
              <a:cs typeface="Segoe UI Light"/>
            </a:endParaRPr>
          </a:p>
          <a:p>
            <a:pPr marL="171450" indent="-171450">
              <a:buFont typeface="Arial" panose="020B0604020202020204" pitchFamily="34" charset="0"/>
              <a:buChar char="•"/>
            </a:pPr>
            <a:r>
              <a:rPr lang="en-US" sz="1200">
                <a:latin typeface="Segoe UI Light"/>
                <a:ea typeface="+mn-lt"/>
                <a:cs typeface="Segoe UI Light"/>
              </a:rPr>
              <a:t>Top 10 operators collectively command more than 90% of the market share. </a:t>
            </a:r>
            <a:endParaRPr lang="en-US">
              <a:cs typeface="Calibri"/>
            </a:endParaRPr>
          </a:p>
          <a:p>
            <a:pPr marL="171450" indent="-171450">
              <a:buFont typeface="Arial"/>
              <a:buChar char="•"/>
            </a:pPr>
            <a:endParaRPr lang="en-US" sz="1200">
              <a:latin typeface="Segoe UI Light" panose="020B0502040204020203" pitchFamily="34" charset="0"/>
              <a:ea typeface="+mn-lt"/>
              <a:cs typeface="Segoe UI Light" panose="020B0502040204020203" pitchFamily="34" charset="0"/>
            </a:endParaRPr>
          </a:p>
          <a:p>
            <a:pPr marL="171450" indent="-171450">
              <a:buFont typeface="Arial"/>
              <a:buChar char="•"/>
            </a:pPr>
            <a:r>
              <a:rPr lang="en-US" sz="1200">
                <a:latin typeface="Segoe UI Light"/>
                <a:ea typeface="+mn-lt"/>
                <a:cs typeface="Segoe UI Light"/>
              </a:rPr>
              <a:t>Top 3 operators maintain their positions across various metrics, including plant count, turbine count, rated capacity, and total net generation in 2021.</a:t>
            </a:r>
          </a:p>
          <a:p>
            <a:endParaRPr lang="en-US" sz="1200">
              <a:latin typeface="Segoe UI Light"/>
              <a:ea typeface="+mn-lt"/>
              <a:cs typeface="Segoe UI Light"/>
            </a:endParaRPr>
          </a:p>
        </p:txBody>
      </p:sp>
      <p:sp>
        <p:nvSpPr>
          <p:cNvPr id="7" name="Rounded Rectangle 61">
            <a:extLst>
              <a:ext uri="{FF2B5EF4-FFF2-40B4-BE49-F238E27FC236}">
                <a16:creationId xmlns:a16="http://schemas.microsoft.com/office/drawing/2014/main" id="{513BF58C-7CA7-D06D-B78A-61738B6293AD}"/>
              </a:ext>
            </a:extLst>
          </p:cNvPr>
          <p:cNvSpPr/>
          <p:nvPr/>
        </p:nvSpPr>
        <p:spPr bwMode="gray">
          <a:xfrm>
            <a:off x="420505" y="1211075"/>
            <a:ext cx="3402162" cy="3063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Top operators at a snapshot</a:t>
            </a:r>
          </a:p>
        </p:txBody>
      </p:sp>
      <p:sp>
        <p:nvSpPr>
          <p:cNvPr id="8" name="Rectangle 7">
            <a:extLst>
              <a:ext uri="{FF2B5EF4-FFF2-40B4-BE49-F238E27FC236}">
                <a16:creationId xmlns:a16="http://schemas.microsoft.com/office/drawing/2014/main" id="{7C6803F6-F67A-F2FF-2CBC-A526C0EAEB70}"/>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HL</a:t>
            </a:r>
          </a:p>
        </p:txBody>
      </p:sp>
    </p:spTree>
    <p:extLst>
      <p:ext uri="{BB962C8B-B14F-4D97-AF65-F5344CB8AC3E}">
        <p14:creationId xmlns:p14="http://schemas.microsoft.com/office/powerpoint/2010/main" val="3240303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Operators Analysis | </a:t>
            </a:r>
            <a:r>
              <a:rPr lang="en-AU" sz="2400">
                <a:solidFill>
                  <a:schemeClr val="accent1"/>
                </a:solidFill>
                <a:latin typeface="Segoe UI Light" panose="020B0502040204020203" pitchFamily="34" charset="0"/>
                <a:cs typeface="Segoe UI Light" panose="020B0502040204020203" pitchFamily="34" charset="0"/>
              </a:rPr>
              <a:t>Key players in the market </a:t>
            </a:r>
          </a:p>
        </p:txBody>
      </p:sp>
      <p:pic>
        <p:nvPicPr>
          <p:cNvPr id="7" name="Content Placeholder 6" descr="A map of the united states with numbers and graphs&#10;&#10;Description automatically generated">
            <a:extLst>
              <a:ext uri="{FF2B5EF4-FFF2-40B4-BE49-F238E27FC236}">
                <a16:creationId xmlns:a16="http://schemas.microsoft.com/office/drawing/2014/main" id="{D386789E-8295-D657-C7AD-9369839C9312}"/>
              </a:ext>
            </a:extLst>
          </p:cNvPr>
          <p:cNvPicPr>
            <a:picLocks noGrp="1" noChangeAspect="1"/>
          </p:cNvPicPr>
          <p:nvPr>
            <p:ph idx="1"/>
          </p:nvPr>
        </p:nvPicPr>
        <p:blipFill>
          <a:blip r:embed="rId6"/>
          <a:stretch>
            <a:fillRect/>
          </a:stretch>
        </p:blipFill>
        <p:spPr>
          <a:xfrm>
            <a:off x="4632777" y="1148850"/>
            <a:ext cx="6736446" cy="5071775"/>
          </a:xfrm>
        </p:spPr>
      </p:pic>
      <p:sp>
        <p:nvSpPr>
          <p:cNvPr id="9" name="Rounded Rectangle 61">
            <a:extLst>
              <a:ext uri="{FF2B5EF4-FFF2-40B4-BE49-F238E27FC236}">
                <a16:creationId xmlns:a16="http://schemas.microsoft.com/office/drawing/2014/main" id="{5B220DEA-7B61-4C66-8DA4-805B682E61A2}"/>
              </a:ext>
            </a:extLst>
          </p:cNvPr>
          <p:cNvSpPr/>
          <p:nvPr/>
        </p:nvSpPr>
        <p:spPr bwMode="gray">
          <a:xfrm>
            <a:off x="605232" y="1261875"/>
            <a:ext cx="3791628"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Top operators by plant presence </a:t>
            </a:r>
          </a:p>
        </p:txBody>
      </p:sp>
      <p:sp>
        <p:nvSpPr>
          <p:cNvPr id="10" name="TextBox 9">
            <a:extLst>
              <a:ext uri="{FF2B5EF4-FFF2-40B4-BE49-F238E27FC236}">
                <a16:creationId xmlns:a16="http://schemas.microsoft.com/office/drawing/2014/main" id="{639B89CE-120E-D75A-2D5F-9AA1A69B7D79}"/>
              </a:ext>
            </a:extLst>
          </p:cNvPr>
          <p:cNvSpPr txBox="1"/>
          <p:nvPr/>
        </p:nvSpPr>
        <p:spPr>
          <a:xfrm>
            <a:off x="605232" y="1652781"/>
            <a:ext cx="3791628" cy="2031325"/>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n-AU" sz="1200">
                <a:latin typeface="Segoe UI Light"/>
                <a:cs typeface="Segoe UI Light"/>
              </a:rPr>
              <a:t>Brady Wind dominates the US market by number of plants and presence in state – present in 37 states, 219 counties. </a:t>
            </a:r>
          </a:p>
          <a:p>
            <a:pPr marL="174625" indent="-174625">
              <a:buFont typeface="Arial" panose="020B0604020202020204" pitchFamily="34" charset="0"/>
              <a:buChar char="•"/>
            </a:pPr>
            <a:endParaRPr lang="en-AU" sz="1200">
              <a:latin typeface="Segoe UI Light"/>
              <a:cs typeface="Segoe UI Light"/>
            </a:endParaRPr>
          </a:p>
          <a:p>
            <a:pPr marL="174625" indent="-174625">
              <a:buFont typeface="Arial" panose="020B0604020202020204" pitchFamily="34" charset="0"/>
              <a:buChar char="•"/>
            </a:pPr>
            <a:r>
              <a:rPr lang="en-AU" sz="1200">
                <a:latin typeface="Segoe UI Light"/>
                <a:cs typeface="Segoe UI Light"/>
              </a:rPr>
              <a:t>Duke Energy are second market leaders and have a more diverse portfolio than Brady Wind – operates plants in all fuel types (e.g. Wind, Natural Gas, Solar PV, thermal and distillate petroleum)</a:t>
            </a:r>
          </a:p>
          <a:p>
            <a:endParaRPr lang="en-AU">
              <a:cs typeface="Calibri" panose="020F0502020204030204"/>
            </a:endParaRPr>
          </a:p>
          <a:p>
            <a:pPr marL="174625" indent="-174625">
              <a:buFont typeface="Arial" panose="020B0604020202020204" pitchFamily="34" charset="0"/>
              <a:buChar char="•"/>
            </a:pPr>
            <a:endParaRPr lang="en-AU" sz="1200">
              <a:latin typeface="Segoe UI Light"/>
              <a:cs typeface="Segoe UI Light"/>
            </a:endParaRPr>
          </a:p>
        </p:txBody>
      </p:sp>
      <p:sp>
        <p:nvSpPr>
          <p:cNvPr id="11" name="Rectangle 10">
            <a:extLst>
              <a:ext uri="{FF2B5EF4-FFF2-40B4-BE49-F238E27FC236}">
                <a16:creationId xmlns:a16="http://schemas.microsoft.com/office/drawing/2014/main" id="{806001B8-80C2-DACC-3955-74939397E122}"/>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HL</a:t>
            </a:r>
          </a:p>
        </p:txBody>
      </p:sp>
    </p:spTree>
    <p:extLst>
      <p:ext uri="{BB962C8B-B14F-4D97-AF65-F5344CB8AC3E}">
        <p14:creationId xmlns:p14="http://schemas.microsoft.com/office/powerpoint/2010/main" val="3090779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Operators Analysis | </a:t>
            </a:r>
            <a:r>
              <a:rPr lang="en-AU" sz="2400">
                <a:solidFill>
                  <a:schemeClr val="accent1"/>
                </a:solidFill>
                <a:latin typeface="Segoe UI Light" panose="020B0502040204020203" pitchFamily="34" charset="0"/>
                <a:cs typeface="Segoe UI Light" panose="020B0502040204020203" pitchFamily="34" charset="0"/>
              </a:rPr>
              <a:t>Key players in the market (cont.)  </a:t>
            </a:r>
          </a:p>
        </p:txBody>
      </p:sp>
      <p:pic>
        <p:nvPicPr>
          <p:cNvPr id="3" name="slide2" descr="Potential operators">
            <a:extLst>
              <a:ext uri="{FF2B5EF4-FFF2-40B4-BE49-F238E27FC236}">
                <a16:creationId xmlns:a16="http://schemas.microsoft.com/office/drawing/2014/main" id="{6E2AE3E4-1E8B-C69F-7B23-2E342357B59C}"/>
              </a:ext>
            </a:extLst>
          </p:cNvPr>
          <p:cNvPicPr>
            <a:picLocks noChangeAspect="1"/>
          </p:cNvPicPr>
          <p:nvPr/>
        </p:nvPicPr>
        <p:blipFill rotWithShape="1">
          <a:blip r:embed="rId6">
            <a:extLst>
              <a:ext uri="{28A0092B-C50C-407E-A947-70E740481C1C}">
                <a14:useLocalDpi xmlns:a14="http://schemas.microsoft.com/office/drawing/2010/main" val="0"/>
              </a:ext>
            </a:extLst>
          </a:blip>
          <a:srcRect b="6517"/>
          <a:stretch/>
        </p:blipFill>
        <p:spPr>
          <a:xfrm>
            <a:off x="4550970" y="1131414"/>
            <a:ext cx="7125342" cy="5328795"/>
          </a:xfrm>
          <a:prstGeom prst="rect">
            <a:avLst/>
          </a:prstGeom>
        </p:spPr>
      </p:pic>
      <p:sp>
        <p:nvSpPr>
          <p:cNvPr id="8" name="Rounded Rectangle 61">
            <a:extLst>
              <a:ext uri="{FF2B5EF4-FFF2-40B4-BE49-F238E27FC236}">
                <a16:creationId xmlns:a16="http://schemas.microsoft.com/office/drawing/2014/main" id="{1BAE2D63-2109-85AE-C91E-867FE365D11C}"/>
              </a:ext>
            </a:extLst>
          </p:cNvPr>
          <p:cNvSpPr/>
          <p:nvPr/>
        </p:nvSpPr>
        <p:spPr bwMode="gray">
          <a:xfrm>
            <a:off x="605232" y="1176616"/>
            <a:ext cx="3791628" cy="381354"/>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Top operator – highest net generation to no. of turbines by project </a:t>
            </a:r>
          </a:p>
        </p:txBody>
      </p:sp>
      <p:sp>
        <p:nvSpPr>
          <p:cNvPr id="9" name="TextBox 8">
            <a:extLst>
              <a:ext uri="{FF2B5EF4-FFF2-40B4-BE49-F238E27FC236}">
                <a16:creationId xmlns:a16="http://schemas.microsoft.com/office/drawing/2014/main" id="{6F7D9B9E-5B4A-23E4-83B2-6249E8303DE2}"/>
              </a:ext>
            </a:extLst>
          </p:cNvPr>
          <p:cNvSpPr txBox="1"/>
          <p:nvPr/>
        </p:nvSpPr>
        <p:spPr>
          <a:xfrm>
            <a:off x="605232" y="1652781"/>
            <a:ext cx="3791628" cy="2123658"/>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n-AU" sz="1200">
                <a:latin typeface="Segoe UI Light"/>
                <a:cs typeface="Segoe UI Light"/>
              </a:rPr>
              <a:t>The operators with the highest level of net generation and lowest number of turbines by projects are : </a:t>
            </a:r>
          </a:p>
          <a:p>
            <a:pPr marL="174625" indent="-174625">
              <a:buFont typeface="Arial" panose="020B0604020202020204" pitchFamily="34" charset="0"/>
              <a:buChar char="•"/>
            </a:pPr>
            <a:endParaRPr lang="en-AU" sz="1200">
              <a:latin typeface="Segoe UI Light"/>
              <a:cs typeface="Segoe UI Light"/>
            </a:endParaRPr>
          </a:p>
          <a:p>
            <a:pPr marL="631825" lvl="1" indent="-174625">
              <a:buFont typeface="Arial" panose="020B0604020202020204" pitchFamily="34" charset="0"/>
              <a:buChar char="•"/>
            </a:pPr>
            <a:r>
              <a:rPr lang="en-AU" sz="1200">
                <a:latin typeface="Segoe UI Light"/>
                <a:cs typeface="Segoe UI Light"/>
              </a:rPr>
              <a:t>Duke Energy (Hollow II and Horse Hollow Wind Energy Project) </a:t>
            </a:r>
          </a:p>
          <a:p>
            <a:pPr marL="631825" lvl="1" indent="-174625">
              <a:buFont typeface="Arial" panose="020B0604020202020204" pitchFamily="34" charset="0"/>
              <a:buChar char="•"/>
            </a:pPr>
            <a:r>
              <a:rPr lang="en-AU" sz="1200">
                <a:latin typeface="Segoe UI Light"/>
                <a:cs typeface="Segoe UI Light"/>
              </a:rPr>
              <a:t>Brady Wind </a:t>
            </a:r>
          </a:p>
          <a:p>
            <a:pPr marL="631825" lvl="1" indent="-174625">
              <a:buFont typeface="Arial" panose="020B0604020202020204" pitchFamily="34" charset="0"/>
              <a:buChar char="•"/>
            </a:pPr>
            <a:r>
              <a:rPr lang="en-AU" sz="1200">
                <a:latin typeface="Segoe UI Light"/>
                <a:cs typeface="Segoe UI Light"/>
              </a:rPr>
              <a:t>Public Services Co of Colorado (Rush Creek II project)</a:t>
            </a:r>
          </a:p>
          <a:p>
            <a:pPr marL="631825" lvl="1" indent="-174625">
              <a:buFont typeface="Arial" panose="020B0604020202020204" pitchFamily="34" charset="0"/>
              <a:buChar char="•"/>
            </a:pPr>
            <a:r>
              <a:rPr lang="en-AU" sz="1200">
                <a:latin typeface="Segoe UI Light"/>
                <a:cs typeface="Segoe UI Light"/>
              </a:rPr>
              <a:t>AE Power Services (Flat Ridge Wind Farm) </a:t>
            </a:r>
          </a:p>
          <a:p>
            <a:pPr marL="631825" lvl="1" indent="-174625">
              <a:buFont typeface="Arial" panose="020B0604020202020204" pitchFamily="34" charset="0"/>
              <a:buChar char="•"/>
            </a:pPr>
            <a:endParaRPr lang="en-AU" sz="1200">
              <a:latin typeface="Segoe UI Light"/>
              <a:cs typeface="Segoe UI Light"/>
            </a:endParaRPr>
          </a:p>
          <a:p>
            <a:pPr marL="174625" indent="-174625">
              <a:buFont typeface="Arial" panose="020B0604020202020204" pitchFamily="34" charset="0"/>
              <a:buChar char="•"/>
            </a:pPr>
            <a:endParaRPr lang="en-AU" sz="1200">
              <a:latin typeface="Segoe UI Light"/>
              <a:cs typeface="Segoe UI Light"/>
            </a:endParaRPr>
          </a:p>
        </p:txBody>
      </p:sp>
      <p:sp>
        <p:nvSpPr>
          <p:cNvPr id="10" name="Rounded Rectangle 61">
            <a:extLst>
              <a:ext uri="{FF2B5EF4-FFF2-40B4-BE49-F238E27FC236}">
                <a16:creationId xmlns:a16="http://schemas.microsoft.com/office/drawing/2014/main" id="{7D490049-8D75-6229-1280-247A167621EE}"/>
              </a:ext>
            </a:extLst>
          </p:cNvPr>
          <p:cNvSpPr/>
          <p:nvPr/>
        </p:nvSpPr>
        <p:spPr bwMode="gray">
          <a:xfrm>
            <a:off x="605232" y="4118519"/>
            <a:ext cx="3791628"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Top 10 operators – net generation by no. of turbines</a:t>
            </a:r>
          </a:p>
        </p:txBody>
      </p:sp>
      <p:sp>
        <p:nvSpPr>
          <p:cNvPr id="11" name="TextBox 10">
            <a:extLst>
              <a:ext uri="{FF2B5EF4-FFF2-40B4-BE49-F238E27FC236}">
                <a16:creationId xmlns:a16="http://schemas.microsoft.com/office/drawing/2014/main" id="{8B886554-7228-22B3-B047-A73476E0BFEC}"/>
              </a:ext>
            </a:extLst>
          </p:cNvPr>
          <p:cNvSpPr txBox="1"/>
          <p:nvPr/>
        </p:nvSpPr>
        <p:spPr>
          <a:xfrm>
            <a:off x="605232" y="4374107"/>
            <a:ext cx="3791628" cy="1569660"/>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n-AU" sz="1200">
                <a:latin typeface="Segoe UI Light"/>
                <a:cs typeface="Segoe UI Light"/>
              </a:rPr>
              <a:t>The operators with the highest level of net generation per turbine are: </a:t>
            </a:r>
          </a:p>
          <a:p>
            <a:pPr marL="174625" indent="-174625">
              <a:buFont typeface="Arial" panose="020B0604020202020204" pitchFamily="34" charset="0"/>
              <a:buChar char="•"/>
            </a:pPr>
            <a:endParaRPr lang="en-AU" sz="1200">
              <a:latin typeface="Segoe UI Light"/>
              <a:cs typeface="Segoe UI Light"/>
            </a:endParaRPr>
          </a:p>
          <a:p>
            <a:pPr marL="631825" lvl="1" indent="-174625">
              <a:buFont typeface="Arial" panose="020B0604020202020204" pitchFamily="34" charset="0"/>
              <a:buChar char="•"/>
            </a:pPr>
            <a:r>
              <a:rPr lang="en-AU" sz="1200">
                <a:latin typeface="Segoe UI Light"/>
                <a:cs typeface="Segoe UI Light"/>
              </a:rPr>
              <a:t>Sacramento Municipal </a:t>
            </a:r>
          </a:p>
          <a:p>
            <a:pPr marL="631825" lvl="1" indent="-174625">
              <a:buFont typeface="Arial" panose="020B0604020202020204" pitchFamily="34" charset="0"/>
              <a:buChar char="•"/>
            </a:pPr>
            <a:r>
              <a:rPr lang="en-AU" sz="1200" err="1">
                <a:latin typeface="Segoe UI Light"/>
                <a:cs typeface="Segoe UI Light"/>
              </a:rPr>
              <a:t>Osceoia</a:t>
            </a:r>
            <a:r>
              <a:rPr lang="en-AU" sz="1200">
                <a:latin typeface="Segoe UI Light"/>
                <a:cs typeface="Segoe UI Light"/>
              </a:rPr>
              <a:t> </a:t>
            </a:r>
          </a:p>
          <a:p>
            <a:pPr marL="631825" lvl="1" indent="-174625">
              <a:buFont typeface="Arial" panose="020B0604020202020204" pitchFamily="34" charset="0"/>
              <a:buChar char="•"/>
            </a:pPr>
            <a:r>
              <a:rPr lang="en-AU" sz="1200" err="1">
                <a:latin typeface="Segoe UI Light"/>
                <a:cs typeface="Segoe UI Light"/>
              </a:rPr>
              <a:t>Allete</a:t>
            </a:r>
            <a:r>
              <a:rPr lang="en-AU" sz="1200">
                <a:latin typeface="Segoe UI Light"/>
                <a:cs typeface="Segoe UI Light"/>
              </a:rPr>
              <a:t> </a:t>
            </a:r>
          </a:p>
          <a:p>
            <a:pPr marL="631825" lvl="1" indent="-174625">
              <a:buFont typeface="Arial" panose="020B0604020202020204" pitchFamily="34" charset="0"/>
              <a:buChar char="•"/>
            </a:pPr>
            <a:endParaRPr lang="en-AU" sz="1200">
              <a:latin typeface="Segoe UI Light"/>
              <a:cs typeface="Segoe UI Light"/>
            </a:endParaRPr>
          </a:p>
          <a:p>
            <a:pPr marL="174625" indent="-174625">
              <a:buFont typeface="Arial" panose="020B0604020202020204" pitchFamily="34" charset="0"/>
              <a:buChar char="•"/>
            </a:pPr>
            <a:endParaRPr lang="en-AU" sz="1200">
              <a:latin typeface="Segoe UI Light"/>
              <a:cs typeface="Segoe UI Light"/>
            </a:endParaRPr>
          </a:p>
        </p:txBody>
      </p:sp>
      <p:sp>
        <p:nvSpPr>
          <p:cNvPr id="14" name="Rectangle 13">
            <a:extLst>
              <a:ext uri="{FF2B5EF4-FFF2-40B4-BE49-F238E27FC236}">
                <a16:creationId xmlns:a16="http://schemas.microsoft.com/office/drawing/2014/main" id="{D7674C4A-ADC5-FA29-A57D-70252562B651}"/>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HL</a:t>
            </a:r>
          </a:p>
        </p:txBody>
      </p:sp>
    </p:spTree>
    <p:extLst>
      <p:ext uri="{BB962C8B-B14F-4D97-AF65-F5344CB8AC3E}">
        <p14:creationId xmlns:p14="http://schemas.microsoft.com/office/powerpoint/2010/main" val="3651499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11382-3FB8-73E1-9B53-7B58EEE2ECA0}"/>
              </a:ext>
            </a:extLst>
          </p:cNvPr>
          <p:cNvGraphicFramePr>
            <a:graphicFrameLocks noChangeAspect="1"/>
          </p:cNvGraphicFramePr>
          <p:nvPr>
            <p:custDataLst>
              <p:tags r:id="rId2"/>
            </p:custDataLst>
            <p:extLst>
              <p:ext uri="{D42A27DB-BD31-4B8C-83A1-F6EECF244321}">
                <p14:modId xmlns:p14="http://schemas.microsoft.com/office/powerpoint/2010/main" val="187696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25911382-3FB8-73E1-9B53-7B58EEE2E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B57D8F3-220C-771F-0C3D-FA903D1E5FB1}"/>
              </a:ext>
            </a:extLst>
          </p:cNvPr>
          <p:cNvSpPr txBox="1"/>
          <p:nvPr/>
        </p:nvSpPr>
        <p:spPr>
          <a:xfrm>
            <a:off x="1273994" y="3202969"/>
            <a:ext cx="3369925" cy="1077218"/>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Understanding Wind Turbines</a:t>
            </a:r>
          </a:p>
        </p:txBody>
      </p:sp>
    </p:spTree>
    <p:extLst>
      <p:ext uri="{BB962C8B-B14F-4D97-AF65-F5344CB8AC3E}">
        <p14:creationId xmlns:p14="http://schemas.microsoft.com/office/powerpoint/2010/main" val="33962799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558769" y="375564"/>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a:cs typeface="Segoe UI Light"/>
              </a:rPr>
              <a:t>Understanding Turbines | </a:t>
            </a:r>
            <a:r>
              <a:rPr lang="en-AU" sz="2400">
                <a:solidFill>
                  <a:schemeClr val="accent1"/>
                </a:solidFill>
                <a:latin typeface="Segoe UI Light"/>
                <a:cs typeface="Segoe UI Light"/>
              </a:rPr>
              <a:t>Geographical Location</a:t>
            </a: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558769" y="2572521"/>
            <a:ext cx="4002749" cy="2065602"/>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200">
                <a:solidFill>
                  <a:srgbClr val="000000"/>
                </a:solidFill>
                <a:latin typeface="Segoe UI Light" panose="020B0502040204020203" pitchFamily="34" charset="0"/>
                <a:ea typeface="+mn-lt"/>
                <a:cs typeface="Segoe UI Light" panose="020B0502040204020203" pitchFamily="34" charset="0"/>
              </a:rPr>
              <a:t>Most large plants are not close by to largely populated counties.</a:t>
            </a:r>
            <a:endParaRPr lang="en-US" sz="1200">
              <a:latin typeface="Segoe UI Light" panose="020B0502040204020203" pitchFamily="34" charset="0"/>
              <a:cs typeface="Segoe UI Light" panose="020B0502040204020203" pitchFamily="34" charset="0"/>
            </a:endParaRPr>
          </a:p>
          <a:p>
            <a:pPr>
              <a:buNone/>
            </a:pPr>
            <a:endParaRPr lang="en-AU" sz="1200">
              <a:latin typeface="Segoe UI Light" panose="020B0502040204020203" pitchFamily="34" charset="0"/>
              <a:cs typeface="Segoe UI Light" panose="020B0502040204020203" pitchFamily="34" charset="0"/>
            </a:endParaRPr>
          </a:p>
          <a:p>
            <a:r>
              <a:rPr lang="en-AU" sz="1200">
                <a:solidFill>
                  <a:srgbClr val="000000"/>
                </a:solidFill>
                <a:latin typeface="Segoe UI Light" panose="020B0502040204020203" pitchFamily="34" charset="0"/>
                <a:ea typeface="+mn-lt"/>
                <a:cs typeface="Segoe UI Light" panose="020B0502040204020203" pitchFamily="34" charset="0"/>
              </a:rPr>
              <a:t>Typical for there to be many plants in an area/county</a:t>
            </a:r>
          </a:p>
          <a:p>
            <a:endParaRPr lang="en-AU" sz="1200">
              <a:latin typeface="Segoe UI Light" panose="020B0502040204020203" pitchFamily="34" charset="0"/>
              <a:cs typeface="Segoe UI Light" panose="020B0502040204020203" pitchFamily="34" charset="0"/>
            </a:endParaRPr>
          </a:p>
          <a:p>
            <a:r>
              <a:rPr lang="en-AU" sz="1200">
                <a:latin typeface="Segoe UI Light"/>
                <a:cs typeface="Segoe UI Light"/>
              </a:rPr>
              <a:t>Would like to ascertain if there is a drop off in energy if it travels large distances, but beyond our scope. </a:t>
            </a:r>
            <a:endParaRPr lang="en-AU" sz="1200">
              <a:latin typeface="Segoe UI Light" panose="020B0502040204020203" pitchFamily="34" charset="0"/>
              <a:cs typeface="Segoe UI Light" panose="020B0502040204020203" pitchFamily="34" charset="0"/>
            </a:endParaRPr>
          </a:p>
          <a:p>
            <a:pPr marL="0" indent="0">
              <a:buNone/>
            </a:pPr>
            <a:endParaRPr lang="en-AU" sz="1200">
              <a:latin typeface="Segoe UI Light" panose="020B0502040204020203" pitchFamily="34" charset="0"/>
              <a:cs typeface="Segoe UI Light" panose="020B0502040204020203" pitchFamily="34" charset="0"/>
            </a:endParaRPr>
          </a:p>
          <a:p>
            <a:pPr marL="0" indent="0">
              <a:buNone/>
            </a:pPr>
            <a:endParaRPr lang="en-AU" sz="1200">
              <a:latin typeface="Segoe UI Light" panose="020B0502040204020203" pitchFamily="34" charset="0"/>
              <a:cs typeface="Segoe UI Light" panose="020B0502040204020203" pitchFamily="34" charset="0"/>
            </a:endParaRPr>
          </a:p>
        </p:txBody>
      </p:sp>
      <p:pic>
        <p:nvPicPr>
          <p:cNvPr id="3" name="Picture 2" descr="A screenshot of a map&#10;&#10;Description automatically generated">
            <a:extLst>
              <a:ext uri="{FF2B5EF4-FFF2-40B4-BE49-F238E27FC236}">
                <a16:creationId xmlns:a16="http://schemas.microsoft.com/office/drawing/2014/main" id="{C9F8E9EB-CE98-B1AD-91EE-15EF1A00786E}"/>
              </a:ext>
            </a:extLst>
          </p:cNvPr>
          <p:cNvPicPr>
            <a:picLocks noChangeAspect="1"/>
          </p:cNvPicPr>
          <p:nvPr/>
        </p:nvPicPr>
        <p:blipFill>
          <a:blip r:embed="rId7"/>
          <a:stretch>
            <a:fillRect/>
          </a:stretch>
        </p:blipFill>
        <p:spPr>
          <a:xfrm>
            <a:off x="5856269" y="983449"/>
            <a:ext cx="5970056" cy="5498987"/>
          </a:xfrm>
          <a:prstGeom prst="rect">
            <a:avLst/>
          </a:prstGeom>
        </p:spPr>
      </p:pic>
      <p:sp>
        <p:nvSpPr>
          <p:cNvPr id="7" name="Rounded Rectangle 61">
            <a:extLst>
              <a:ext uri="{FF2B5EF4-FFF2-40B4-BE49-F238E27FC236}">
                <a16:creationId xmlns:a16="http://schemas.microsoft.com/office/drawing/2014/main" id="{B4F155E1-F046-0408-F0EA-8D15FDE754B7}"/>
              </a:ext>
            </a:extLst>
          </p:cNvPr>
          <p:cNvSpPr/>
          <p:nvPr/>
        </p:nvSpPr>
        <p:spPr bwMode="gray">
          <a:xfrm>
            <a:off x="558769" y="1071737"/>
            <a:ext cx="40027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Turbine Locations</a:t>
            </a:r>
            <a:endParaRPr lang="en-AU" sz="1100" b="1">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67A52A96-7436-93B0-EB70-4AE9E262829A}"/>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N</a:t>
            </a:r>
          </a:p>
        </p:txBody>
      </p:sp>
    </p:spTree>
    <p:extLst>
      <p:ext uri="{BB962C8B-B14F-4D97-AF65-F5344CB8AC3E}">
        <p14:creationId xmlns:p14="http://schemas.microsoft.com/office/powerpoint/2010/main" val="3687526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145600-DDB4-C40A-428C-D89839DA1CC5}"/>
              </a:ext>
            </a:extLst>
          </p:cNvPr>
          <p:cNvPicPr>
            <a:picLocks noChangeAspect="1"/>
          </p:cNvPicPr>
          <p:nvPr/>
        </p:nvPicPr>
        <p:blipFill rotWithShape="1">
          <a:blip r:embed="rId2"/>
          <a:srcRect l="874" t="751" r="1123" b="1503"/>
          <a:stretch/>
        </p:blipFill>
        <p:spPr>
          <a:xfrm>
            <a:off x="649549" y="1536395"/>
            <a:ext cx="7937090" cy="4573766"/>
          </a:xfrm>
          <a:prstGeom prst="rect">
            <a:avLst/>
          </a:prstGeom>
        </p:spPr>
      </p:pic>
      <p:sp>
        <p:nvSpPr>
          <p:cNvPr id="2" name="Rectangle 1">
            <a:extLst>
              <a:ext uri="{FF2B5EF4-FFF2-40B4-BE49-F238E27FC236}">
                <a16:creationId xmlns:a16="http://schemas.microsoft.com/office/drawing/2014/main" id="{462C2485-91C1-E299-9F2F-91D29813B211}"/>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PB / MN</a:t>
            </a:r>
          </a:p>
        </p:txBody>
      </p:sp>
      <p:sp>
        <p:nvSpPr>
          <p:cNvPr id="4" name="TextBox 3">
            <a:extLst>
              <a:ext uri="{FF2B5EF4-FFF2-40B4-BE49-F238E27FC236}">
                <a16:creationId xmlns:a16="http://schemas.microsoft.com/office/drawing/2014/main" id="{B6715306-4EC9-A2FA-1E7F-9BA3673CB827}"/>
              </a:ext>
            </a:extLst>
          </p:cNvPr>
          <p:cNvSpPr txBox="1"/>
          <p:nvPr/>
        </p:nvSpPr>
        <p:spPr>
          <a:xfrm>
            <a:off x="724318" y="404027"/>
            <a:ext cx="800937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Turbine Manufacturer Analysis</a:t>
            </a:r>
          </a:p>
        </p:txBody>
      </p:sp>
    </p:spTree>
    <p:extLst>
      <p:ext uri="{BB962C8B-B14F-4D97-AF65-F5344CB8AC3E}">
        <p14:creationId xmlns:p14="http://schemas.microsoft.com/office/powerpoint/2010/main" val="2319001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Understanding Turbines | </a:t>
            </a:r>
            <a:r>
              <a:rPr lang="en-AU" sz="2400">
                <a:solidFill>
                  <a:schemeClr val="accent1"/>
                </a:solidFill>
                <a:latin typeface="Segoe UI Light" panose="020B0502040204020203" pitchFamily="34" charset="0"/>
                <a:cs typeface="Segoe UI Light" panose="020B0502040204020203" pitchFamily="34" charset="0"/>
              </a:rPr>
              <a:t>Attributes (cont.)  </a:t>
            </a: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605232" y="1785947"/>
            <a:ext cx="4002749" cy="4044943"/>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74625"/>
            <a:r>
              <a:rPr lang="en-AU" sz="1200">
                <a:latin typeface="Segoe UI Light"/>
                <a:cs typeface="Segoe UI Light"/>
              </a:rPr>
              <a:t>Turbines can differ wildly in the attributes, even across manufacturers.</a:t>
            </a:r>
          </a:p>
          <a:p>
            <a:pPr indent="-174625"/>
            <a:endParaRPr lang="en-AU" sz="1200">
              <a:latin typeface="Segoe UI Light" panose="020B0502040204020203" pitchFamily="34" charset="0"/>
              <a:cs typeface="Segoe UI Light" panose="020B0502040204020203" pitchFamily="34" charset="0"/>
            </a:endParaRPr>
          </a:p>
          <a:p>
            <a:pPr indent="-174625"/>
            <a:r>
              <a:rPr lang="en-AU" sz="1200">
                <a:latin typeface="Segoe UI Light"/>
                <a:cs typeface="Segoe UI Light"/>
              </a:rPr>
              <a:t>Turbine Hub Height and Rotor Diameter are evenly distributed over the ranges found, indicating that no individual height or Diameter is default better, and should be constructed based on the needs of the plant.</a:t>
            </a:r>
          </a:p>
          <a:p>
            <a:pPr indent="-174625"/>
            <a:endParaRPr lang="en-AU" sz="1200">
              <a:latin typeface="Segoe UI Light" panose="020B0502040204020203" pitchFamily="34" charset="0"/>
              <a:cs typeface="Segoe UI Light" panose="020B0502040204020203" pitchFamily="34" charset="0"/>
            </a:endParaRPr>
          </a:p>
          <a:p>
            <a:pPr indent="-174625"/>
            <a:r>
              <a:rPr lang="en-AU" sz="1200">
                <a:latin typeface="Segoe UI Light"/>
                <a:cs typeface="Segoe UI Light"/>
              </a:rPr>
              <a:t>GE Wind and Vestas are the manufacturers with the greatest share of turbines in the space by a large margin.</a:t>
            </a:r>
            <a:endParaRPr lang="en-AU" sz="1200">
              <a:latin typeface="Segoe UI Light" panose="020B0502040204020203" pitchFamily="34" charset="0"/>
              <a:cs typeface="Segoe UI Light" panose="020B0502040204020203" pitchFamily="34" charset="0"/>
            </a:endParaRPr>
          </a:p>
          <a:p>
            <a:pPr indent="-174625"/>
            <a:endParaRPr lang="en-AU" sz="1200">
              <a:latin typeface="Segoe UI Light" panose="020B0502040204020203" pitchFamily="34" charset="0"/>
              <a:cs typeface="Segoe UI Light" panose="020B0502040204020203" pitchFamily="34" charset="0"/>
            </a:endParaRPr>
          </a:p>
          <a:p>
            <a:pPr indent="-174625"/>
            <a:r>
              <a:rPr lang="en-AU" sz="1200">
                <a:latin typeface="Segoe UI Light"/>
                <a:cs typeface="Segoe UI Light"/>
              </a:rPr>
              <a:t>On average turbines have a Hub Height of about 75m and Rotor Diameter of about 80m.</a:t>
            </a:r>
          </a:p>
          <a:p>
            <a:pPr marL="53975" indent="0">
              <a:buNone/>
            </a:pPr>
            <a:endParaRPr lang="en-AU" sz="1200">
              <a:latin typeface="Segoe UI Light" panose="020B0502040204020203" pitchFamily="34" charset="0"/>
              <a:cs typeface="Segoe UI Light" panose="020B0502040204020203" pitchFamily="34" charset="0"/>
            </a:endParaRPr>
          </a:p>
          <a:p>
            <a:pPr indent="-174625"/>
            <a:r>
              <a:rPr lang="en-AU" sz="1200">
                <a:latin typeface="Segoe UI Light"/>
                <a:cs typeface="Segoe UI Light"/>
              </a:rPr>
              <a:t>Hub Height is used to catch more wind and a greater Rotor Diameter will generate more electricity.</a:t>
            </a:r>
          </a:p>
        </p:txBody>
      </p:sp>
      <p:pic>
        <p:nvPicPr>
          <p:cNvPr id="3" name="Picture 2" descr="A screenshot of a graph&#10;&#10;Description automatically generated">
            <a:extLst>
              <a:ext uri="{FF2B5EF4-FFF2-40B4-BE49-F238E27FC236}">
                <a16:creationId xmlns:a16="http://schemas.microsoft.com/office/drawing/2014/main" id="{3B61F8B7-0358-1040-2656-8718D072E09E}"/>
              </a:ext>
            </a:extLst>
          </p:cNvPr>
          <p:cNvPicPr>
            <a:picLocks noChangeAspect="1"/>
          </p:cNvPicPr>
          <p:nvPr/>
        </p:nvPicPr>
        <p:blipFill>
          <a:blip r:embed="rId6"/>
          <a:stretch>
            <a:fillRect/>
          </a:stretch>
        </p:blipFill>
        <p:spPr>
          <a:xfrm>
            <a:off x="5106256" y="1308024"/>
            <a:ext cx="6678202" cy="5334110"/>
          </a:xfrm>
          <a:prstGeom prst="rect">
            <a:avLst/>
          </a:prstGeom>
        </p:spPr>
      </p:pic>
      <p:sp>
        <p:nvSpPr>
          <p:cNvPr id="8" name="Rounded Rectangle 61">
            <a:extLst>
              <a:ext uri="{FF2B5EF4-FFF2-40B4-BE49-F238E27FC236}">
                <a16:creationId xmlns:a16="http://schemas.microsoft.com/office/drawing/2014/main" id="{085A59E7-5E46-AE83-14D4-01FF98F120FE}"/>
              </a:ext>
            </a:extLst>
          </p:cNvPr>
          <p:cNvSpPr/>
          <p:nvPr/>
        </p:nvSpPr>
        <p:spPr bwMode="gray">
          <a:xfrm>
            <a:off x="633110" y="1403253"/>
            <a:ext cx="40027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Turbine Attributes</a:t>
            </a:r>
          </a:p>
        </p:txBody>
      </p:sp>
      <p:sp>
        <p:nvSpPr>
          <p:cNvPr id="10" name="Rectangle 9">
            <a:extLst>
              <a:ext uri="{FF2B5EF4-FFF2-40B4-BE49-F238E27FC236}">
                <a16:creationId xmlns:a16="http://schemas.microsoft.com/office/drawing/2014/main" id="{35E737B0-D874-B739-6A09-9E02A27187F7}"/>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N</a:t>
            </a:r>
          </a:p>
        </p:txBody>
      </p:sp>
    </p:spTree>
    <p:extLst>
      <p:ext uri="{BB962C8B-B14F-4D97-AF65-F5344CB8AC3E}">
        <p14:creationId xmlns:p14="http://schemas.microsoft.com/office/powerpoint/2010/main" val="564263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Understanding Turbines | </a:t>
            </a:r>
            <a:r>
              <a:rPr lang="en-AU" sz="2400">
                <a:solidFill>
                  <a:schemeClr val="accent1"/>
                </a:solidFill>
                <a:latin typeface="Segoe UI Light" panose="020B0502040204020203" pitchFamily="34" charset="0"/>
                <a:cs typeface="Segoe UI Light" panose="020B0502040204020203" pitchFamily="34" charset="0"/>
              </a:rPr>
              <a:t>Attributes of turbine plants </a:t>
            </a: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559001" y="2378545"/>
            <a:ext cx="3928408" cy="3413040"/>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sz="1400">
              <a:latin typeface="Segoe UI Light"/>
              <a:cs typeface="Segoe UI Light"/>
            </a:endParaRPr>
          </a:p>
          <a:p>
            <a:endParaRPr lang="en-AU" sz="1400">
              <a:latin typeface="Segoe UI Light"/>
              <a:cs typeface="Segoe UI Light"/>
            </a:endParaRPr>
          </a:p>
        </p:txBody>
      </p:sp>
      <p:pic>
        <p:nvPicPr>
          <p:cNvPr id="2" name="Picture 1" descr="A screenshot of a graph&#10;&#10;Description automatically generated">
            <a:extLst>
              <a:ext uri="{FF2B5EF4-FFF2-40B4-BE49-F238E27FC236}">
                <a16:creationId xmlns:a16="http://schemas.microsoft.com/office/drawing/2014/main" id="{DA4D55D7-3106-70EA-965F-55D728F28D3D}"/>
              </a:ext>
            </a:extLst>
          </p:cNvPr>
          <p:cNvPicPr>
            <a:picLocks noChangeAspect="1"/>
          </p:cNvPicPr>
          <p:nvPr/>
        </p:nvPicPr>
        <p:blipFill>
          <a:blip r:embed="rId6"/>
          <a:stretch>
            <a:fillRect/>
          </a:stretch>
        </p:blipFill>
        <p:spPr>
          <a:xfrm>
            <a:off x="4835912" y="1266824"/>
            <a:ext cx="7110760" cy="5415357"/>
          </a:xfrm>
          <a:prstGeom prst="rect">
            <a:avLst/>
          </a:prstGeom>
        </p:spPr>
      </p:pic>
      <p:sp>
        <p:nvSpPr>
          <p:cNvPr id="8" name="TextBox 7">
            <a:extLst>
              <a:ext uri="{FF2B5EF4-FFF2-40B4-BE49-F238E27FC236}">
                <a16:creationId xmlns:a16="http://schemas.microsoft.com/office/drawing/2014/main" id="{CCDF19B3-6AFA-6D12-BD9B-04797F0B4724}"/>
              </a:ext>
            </a:extLst>
          </p:cNvPr>
          <p:cNvSpPr txBox="1"/>
          <p:nvPr/>
        </p:nvSpPr>
        <p:spPr>
          <a:xfrm>
            <a:off x="605232" y="1759338"/>
            <a:ext cx="3923370"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200">
                <a:latin typeface="Segoe UI Light"/>
                <a:cs typeface="Segoe UI Light"/>
              </a:rPr>
              <a:t>Largest plants have over 250 turbines generating electricity.</a:t>
            </a:r>
          </a:p>
          <a:p>
            <a:pPr marL="285750" indent="-285750">
              <a:buFont typeface="Arial"/>
              <a:buChar char="•"/>
            </a:pPr>
            <a:endParaRPr lang="en-US" sz="1200">
              <a:latin typeface="Segoe UI Light"/>
              <a:cs typeface="Segoe UI Light"/>
            </a:endParaRPr>
          </a:p>
          <a:p>
            <a:pPr marL="285750" indent="-285750">
              <a:buFont typeface="Arial"/>
              <a:buChar char="•"/>
            </a:pPr>
            <a:r>
              <a:rPr lang="en-US" sz="1200">
                <a:latin typeface="Segoe UI Light"/>
                <a:cs typeface="Segoe UI Light"/>
              </a:rPr>
              <a:t>Plant energy Capacity and number of turbines aren't necessarily correlated. Can't immediately expect a plant that has a large number of turbines to have a large Capacity.</a:t>
            </a:r>
          </a:p>
          <a:p>
            <a:pPr marL="285750" indent="-285750">
              <a:buFont typeface="Arial"/>
              <a:buChar char="•"/>
            </a:pPr>
            <a:endParaRPr lang="en-US"/>
          </a:p>
          <a:p>
            <a:pPr marL="285750" indent="-285750">
              <a:buFont typeface="Arial"/>
              <a:buChar char="•"/>
            </a:pPr>
            <a:r>
              <a:rPr lang="en-US" sz="1200">
                <a:latin typeface="Segoe UI Light"/>
                <a:cs typeface="Calibri" panose="020F0502020204030204"/>
              </a:rPr>
              <a:t>If looking at purchasing a plant by looking at avg Turbine Capacity, </a:t>
            </a:r>
            <a:r>
              <a:rPr lang="en-US" sz="1200" err="1">
                <a:latin typeface="Segoe UI Light"/>
                <a:cs typeface="Calibri" panose="020F0502020204030204"/>
              </a:rPr>
              <a:t>Goldwind</a:t>
            </a:r>
            <a:r>
              <a:rPr lang="en-US" sz="1200">
                <a:latin typeface="Segoe UI Light"/>
                <a:cs typeface="Calibri" panose="020F0502020204030204"/>
              </a:rPr>
              <a:t> Americas would be the first choice.</a:t>
            </a:r>
            <a:endParaRPr lang="en-US">
              <a:latin typeface="Calibri" panose="020F0502020204030204"/>
              <a:cs typeface="Calibri" panose="020F0502020204030204"/>
            </a:endParaRPr>
          </a:p>
          <a:p>
            <a:pPr marL="285750" indent="-285750">
              <a:buFont typeface="Arial"/>
              <a:buChar char="•"/>
            </a:pPr>
            <a:endParaRPr lang="en-US" sz="1200">
              <a:latin typeface="Segoe UI Light"/>
              <a:cs typeface="Segoe UI Light"/>
            </a:endParaRPr>
          </a:p>
          <a:p>
            <a:pPr marL="285750" indent="-285750">
              <a:buFont typeface="Arial"/>
              <a:buChar char="•"/>
            </a:pPr>
            <a:endParaRPr lang="en-US" sz="1200">
              <a:latin typeface="Segoe UI Light"/>
              <a:cs typeface="Segoe UI Light"/>
            </a:endParaRPr>
          </a:p>
        </p:txBody>
      </p:sp>
      <p:sp>
        <p:nvSpPr>
          <p:cNvPr id="3" name="Rounded Rectangle 61">
            <a:extLst>
              <a:ext uri="{FF2B5EF4-FFF2-40B4-BE49-F238E27FC236}">
                <a16:creationId xmlns:a16="http://schemas.microsoft.com/office/drawing/2014/main" id="{57DFA494-0F0A-695C-53FF-6D7F8325F9F7}"/>
              </a:ext>
            </a:extLst>
          </p:cNvPr>
          <p:cNvSpPr/>
          <p:nvPr/>
        </p:nvSpPr>
        <p:spPr bwMode="gray">
          <a:xfrm>
            <a:off x="633110" y="1403253"/>
            <a:ext cx="40027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Turbine Attributes Capacity</a:t>
            </a:r>
          </a:p>
        </p:txBody>
      </p:sp>
      <p:sp>
        <p:nvSpPr>
          <p:cNvPr id="9" name="Rectangle 8">
            <a:extLst>
              <a:ext uri="{FF2B5EF4-FFF2-40B4-BE49-F238E27FC236}">
                <a16:creationId xmlns:a16="http://schemas.microsoft.com/office/drawing/2014/main" id="{6D948C22-3F9C-DCC3-5B00-7CC81F9EA26E}"/>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N</a:t>
            </a:r>
          </a:p>
        </p:txBody>
      </p:sp>
    </p:spTree>
    <p:extLst>
      <p:ext uri="{BB962C8B-B14F-4D97-AF65-F5344CB8AC3E}">
        <p14:creationId xmlns:p14="http://schemas.microsoft.com/office/powerpoint/2010/main" val="153669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1479203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14" imgW="592" imgH="591" progId="TCLayout.ActiveDocument.1">
                  <p:embed/>
                </p:oleObj>
              </mc:Choice>
              <mc:Fallback>
                <p:oleObj name="think-cell Slide" r:id="rId1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Manufacturer Analysis | </a:t>
            </a:r>
            <a:r>
              <a:rPr lang="en-AU" sz="2400">
                <a:solidFill>
                  <a:schemeClr val="accent1"/>
                </a:solidFill>
                <a:latin typeface="Segoe UI Light" panose="020B0502040204020203" pitchFamily="34" charset="0"/>
                <a:cs typeface="Segoe UI Light" panose="020B0502040204020203" pitchFamily="34" charset="0"/>
              </a:rPr>
              <a:t>Key players in the market (cont.) </a:t>
            </a:r>
          </a:p>
        </p:txBody>
      </p:sp>
      <p:sp>
        <p:nvSpPr>
          <p:cNvPr id="2" name="Rounded Rectangle 61">
            <a:extLst>
              <a:ext uri="{FF2B5EF4-FFF2-40B4-BE49-F238E27FC236}">
                <a16:creationId xmlns:a16="http://schemas.microsoft.com/office/drawing/2014/main" id="{27A70C6D-4F36-5634-67FD-DB702A91E413}"/>
              </a:ext>
            </a:extLst>
          </p:cNvPr>
          <p:cNvSpPr/>
          <p:nvPr/>
        </p:nvSpPr>
        <p:spPr bwMode="gray">
          <a:xfrm>
            <a:off x="6630889" y="1316038"/>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Wind turbine manufacturer | No of turbines from 2017 – 2021 </a:t>
            </a:r>
          </a:p>
        </p:txBody>
      </p:sp>
      <p:sp>
        <p:nvSpPr>
          <p:cNvPr id="3" name="Freeform 584">
            <a:extLst>
              <a:ext uri="{FF2B5EF4-FFF2-40B4-BE49-F238E27FC236}">
                <a16:creationId xmlns:a16="http://schemas.microsoft.com/office/drawing/2014/main" id="{309569E5-818D-E0AB-4B5B-831A3227E7F1}"/>
              </a:ext>
            </a:extLst>
          </p:cNvPr>
          <p:cNvSpPr>
            <a:spLocks noChangeAspect="1" noEditPoints="1"/>
          </p:cNvSpPr>
          <p:nvPr/>
        </p:nvSpPr>
        <p:spPr bwMode="auto">
          <a:xfrm>
            <a:off x="6528896" y="1316038"/>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7" name="Rounded Rectangle 61">
            <a:extLst>
              <a:ext uri="{FF2B5EF4-FFF2-40B4-BE49-F238E27FC236}">
                <a16:creationId xmlns:a16="http://schemas.microsoft.com/office/drawing/2014/main" id="{D2F05241-B0C8-1B09-FB08-3F061308441B}"/>
              </a:ext>
            </a:extLst>
          </p:cNvPr>
          <p:cNvSpPr/>
          <p:nvPr/>
        </p:nvSpPr>
        <p:spPr bwMode="gray">
          <a:xfrm>
            <a:off x="623088" y="1316135"/>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Manufacturers on Wind Turbine in the US | 2017 - 2021</a:t>
            </a:r>
          </a:p>
        </p:txBody>
      </p:sp>
      <p:sp>
        <p:nvSpPr>
          <p:cNvPr id="8" name="TextBox 7">
            <a:extLst>
              <a:ext uri="{FF2B5EF4-FFF2-40B4-BE49-F238E27FC236}">
                <a16:creationId xmlns:a16="http://schemas.microsoft.com/office/drawing/2014/main" id="{CC547042-7CE4-54E6-6411-ADE13FFDB19A}"/>
              </a:ext>
            </a:extLst>
          </p:cNvPr>
          <p:cNvSpPr txBox="1"/>
          <p:nvPr/>
        </p:nvSpPr>
        <p:spPr>
          <a:xfrm>
            <a:off x="605232" y="1777477"/>
            <a:ext cx="5048350" cy="2123658"/>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There were 4 manufacturers of wind turbines in the US in 2017 - 2021. Vestas and GE Wind dominates the manufacturing market.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Vestas and GE Wind are the top players respectively and together, they make up over 80% of the total manufacturing market share from 2017 – 2021. This also represents 14,434 units of turbine.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In 2017 and 2018, Vestas was the market leader by a small margin, however, GE Wind overtook Vestas’ position by a significant in 2019 and 2020.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graphicFrame>
        <p:nvGraphicFramePr>
          <p:cNvPr id="220" name="Chart 219">
            <a:extLst>
              <a:ext uri="{FF2B5EF4-FFF2-40B4-BE49-F238E27FC236}">
                <a16:creationId xmlns:a16="http://schemas.microsoft.com/office/drawing/2014/main" id="{578751E3-A52E-3A78-B5D9-9939BBFFB6A4}"/>
              </a:ext>
            </a:extLst>
          </p:cNvPr>
          <p:cNvGraphicFramePr/>
          <p:nvPr>
            <p:custDataLst>
              <p:tags r:id="rId3"/>
            </p:custDataLst>
            <p:extLst>
              <p:ext uri="{D42A27DB-BD31-4B8C-83A1-F6EECF244321}">
                <p14:modId xmlns:p14="http://schemas.microsoft.com/office/powerpoint/2010/main" val="1941700185"/>
              </p:ext>
            </p:extLst>
          </p:nvPr>
        </p:nvGraphicFramePr>
        <p:xfrm>
          <a:off x="6677025" y="1555750"/>
          <a:ext cx="5173663" cy="4835525"/>
        </p:xfrm>
        <a:graphic>
          <a:graphicData uri="http://schemas.openxmlformats.org/drawingml/2006/chart">
            <c:chart xmlns:c="http://schemas.openxmlformats.org/drawingml/2006/chart" xmlns:r="http://schemas.openxmlformats.org/officeDocument/2006/relationships" r:id="rId16"/>
          </a:graphicData>
        </a:graphic>
      </p:graphicFrame>
      <p:cxnSp>
        <p:nvCxnSpPr>
          <p:cNvPr id="11" name="Straight Connector 10">
            <a:extLst>
              <a:ext uri="{FF2B5EF4-FFF2-40B4-BE49-F238E27FC236}">
                <a16:creationId xmlns:a16="http://schemas.microsoft.com/office/drawing/2014/main" id="{EB4E5EB8-E3CC-E6FC-13AE-70D0B72E7AEC}"/>
              </a:ext>
            </a:extLst>
          </p:cNvPr>
          <p:cNvCxnSpPr/>
          <p:nvPr>
            <p:custDataLst>
              <p:tags r:id="rId4"/>
            </p:custDataLst>
          </p:nvPr>
        </p:nvCxnSpPr>
        <p:spPr bwMode="gray">
          <a:xfrm>
            <a:off x="7491413" y="1917700"/>
            <a:ext cx="185738" cy="0"/>
          </a:xfrm>
          <a:prstGeom prst="line">
            <a:avLst/>
          </a:prstGeom>
          <a:ln w="28575" cap="rnd" cmpd="sng" algn="ctr">
            <a:solidFill>
              <a:srgbClr val="8FAAD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CCD6F08C-DDA9-88A5-9633-1EF021F40F74}"/>
              </a:ext>
            </a:extLst>
          </p:cNvPr>
          <p:cNvCxnSpPr/>
          <p:nvPr>
            <p:custDataLst>
              <p:tags r:id="rId5"/>
            </p:custDataLst>
          </p:nvPr>
        </p:nvCxnSpPr>
        <p:spPr bwMode="gray">
          <a:xfrm>
            <a:off x="7491413" y="2141538"/>
            <a:ext cx="185738" cy="0"/>
          </a:xfrm>
          <a:prstGeom prst="line">
            <a:avLst/>
          </a:prstGeom>
          <a:ln w="28575" cap="rnd" cmpd="sng" algn="ctr">
            <a:solidFill>
              <a:srgbClr val="20386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FF9A023-C82E-3BEB-238B-B1016EB7ECB1}"/>
              </a:ext>
            </a:extLst>
          </p:cNvPr>
          <p:cNvCxnSpPr/>
          <p:nvPr>
            <p:custDataLst>
              <p:tags r:id="rId6"/>
            </p:custDataLst>
          </p:nvPr>
        </p:nvCxnSpPr>
        <p:spPr bwMode="gray">
          <a:xfrm>
            <a:off x="8393113" y="1917700"/>
            <a:ext cx="185738" cy="0"/>
          </a:xfrm>
          <a:prstGeom prst="line">
            <a:avLst/>
          </a:prstGeom>
          <a:ln w="28575" cap="rnd" cmpd="sng" algn="ctr">
            <a:solidFill>
              <a:srgbClr val="C4D6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177DAC9-1987-74CD-CAD7-CB09BC8B193C}"/>
              </a:ext>
            </a:extLst>
          </p:cNvPr>
          <p:cNvCxnSpPr/>
          <p:nvPr>
            <p:custDataLst>
              <p:tags r:id="rId7"/>
            </p:custDataLst>
          </p:nvPr>
        </p:nvCxnSpPr>
        <p:spPr bwMode="gray">
          <a:xfrm>
            <a:off x="8393113" y="2141538"/>
            <a:ext cx="185738" cy="0"/>
          </a:xfrm>
          <a:prstGeom prst="line">
            <a:avLst/>
          </a:prstGeom>
          <a:ln w="28575" cap="rnd" cmpd="sng" algn="ctr">
            <a:solidFill>
              <a:srgbClr val="6FC2B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Text Placeholder 2">
            <a:extLst>
              <a:ext uri="{FF2B5EF4-FFF2-40B4-BE49-F238E27FC236}">
                <a16:creationId xmlns:a16="http://schemas.microsoft.com/office/drawing/2014/main" id="{157E2803-2BF7-ABD7-C482-D7A3AD0399C5}"/>
              </a:ext>
            </a:extLst>
          </p:cNvPr>
          <p:cNvSpPr>
            <a:spLocks noGrp="1"/>
          </p:cNvSpPr>
          <p:nvPr>
            <p:custDataLst>
              <p:tags r:id="rId8"/>
            </p:custDataLst>
          </p:nvPr>
        </p:nvSpPr>
        <p:spPr bwMode="auto">
          <a:xfrm>
            <a:off x="7742238" y="1846263"/>
            <a:ext cx="395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5C6CE6F-1014-414E-A3C7-C030D8298743}" type="datetime'''''''V''e''''''''''s''''''''t''a''s'''''''''''">
              <a:rPr lang="en-AU" altLang="en-US" sz="1200" smtClean="0">
                <a:effectLst/>
              </a:rPr>
              <a:pPr marL="0" lvl="0" indent="0">
                <a:spcBef>
                  <a:spcPct val="0"/>
                </a:spcBef>
                <a:spcAft>
                  <a:spcPct val="0"/>
                </a:spcAft>
                <a:buNone/>
              </a:pPr>
              <a:t>Vestas</a:t>
            </a:fld>
            <a:endParaRPr lang="en-AU" sz="1200"/>
          </a:p>
        </p:txBody>
      </p:sp>
      <p:sp>
        <p:nvSpPr>
          <p:cNvPr id="46" name="Text Placeholder 2">
            <a:extLst>
              <a:ext uri="{FF2B5EF4-FFF2-40B4-BE49-F238E27FC236}">
                <a16:creationId xmlns:a16="http://schemas.microsoft.com/office/drawing/2014/main" id="{DAE92E55-4AC9-5E00-1DC8-C08851D3D5BF}"/>
              </a:ext>
            </a:extLst>
          </p:cNvPr>
          <p:cNvSpPr>
            <a:spLocks noGrp="1"/>
          </p:cNvSpPr>
          <p:nvPr>
            <p:custDataLst>
              <p:tags r:id="rId9"/>
            </p:custDataLst>
          </p:nvPr>
        </p:nvSpPr>
        <p:spPr bwMode="auto">
          <a:xfrm>
            <a:off x="7742238" y="2070100"/>
            <a:ext cx="534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120956-8726-4A92-846A-1946E0E6EF89}" type="datetime'''''''''G''''''''''''''''E ''''''Win''''d'''''">
              <a:rPr lang="en-AU" altLang="en-US" sz="1200" smtClean="0"/>
              <a:pPr marL="0" lvl="0" indent="0">
                <a:spcBef>
                  <a:spcPct val="0"/>
                </a:spcBef>
                <a:spcAft>
                  <a:spcPct val="0"/>
                </a:spcAft>
                <a:buNone/>
              </a:pPr>
              <a:t>GE Wind</a:t>
            </a:fld>
            <a:endParaRPr lang="en-AU" sz="1200"/>
          </a:p>
        </p:txBody>
      </p:sp>
      <p:sp>
        <p:nvSpPr>
          <p:cNvPr id="49" name="Text Placeholder 2">
            <a:extLst>
              <a:ext uri="{FF2B5EF4-FFF2-40B4-BE49-F238E27FC236}">
                <a16:creationId xmlns:a16="http://schemas.microsoft.com/office/drawing/2014/main" id="{AD67CEAD-175D-0847-C5C8-7CE7781BE82A}"/>
              </a:ext>
            </a:extLst>
          </p:cNvPr>
          <p:cNvSpPr>
            <a:spLocks noGrp="1"/>
          </p:cNvSpPr>
          <p:nvPr>
            <p:custDataLst>
              <p:tags r:id="rId10"/>
            </p:custDataLst>
          </p:nvPr>
        </p:nvSpPr>
        <p:spPr bwMode="auto">
          <a:xfrm>
            <a:off x="8643938" y="1846263"/>
            <a:ext cx="449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A48BDB-E102-4376-A51A-293FE5A5CED4}" type="datetime'''''''''''''N''''''or''''''''''''''''d''''''e''''x'''">
              <a:rPr lang="en-AU" altLang="en-US" sz="1200" smtClean="0"/>
              <a:pPr marL="0" lvl="0" indent="0">
                <a:spcBef>
                  <a:spcPct val="0"/>
                </a:spcBef>
                <a:spcAft>
                  <a:spcPct val="0"/>
                </a:spcAft>
                <a:buNone/>
              </a:pPr>
              <a:t>Nordex</a:t>
            </a:fld>
            <a:endParaRPr lang="en-AU" sz="1200"/>
          </a:p>
        </p:txBody>
      </p:sp>
      <p:sp>
        <p:nvSpPr>
          <p:cNvPr id="52" name="Text Placeholder 2">
            <a:extLst>
              <a:ext uri="{FF2B5EF4-FFF2-40B4-BE49-F238E27FC236}">
                <a16:creationId xmlns:a16="http://schemas.microsoft.com/office/drawing/2014/main" id="{B5EB1D99-5159-57D9-6A0C-7FB6EF23BA70}"/>
              </a:ext>
            </a:extLst>
          </p:cNvPr>
          <p:cNvSpPr>
            <a:spLocks noGrp="1"/>
          </p:cNvSpPr>
          <p:nvPr>
            <p:custDataLst>
              <p:tags r:id="rId11"/>
            </p:custDataLst>
          </p:nvPr>
        </p:nvSpPr>
        <p:spPr bwMode="auto">
          <a:xfrm>
            <a:off x="8643938" y="2070100"/>
            <a:ext cx="987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42F9AB7-3712-4345-9AD0-DDE6A04ABA81}" type="datetime'S''''''''iem''''''es''-''''G''''''a''''m''e''''''s''''a'''''''">
              <a:rPr lang="en-AU" altLang="en-US" sz="1200" smtClean="0"/>
              <a:pPr marL="0" lvl="0" indent="0">
                <a:spcBef>
                  <a:spcPct val="0"/>
                </a:spcBef>
                <a:spcAft>
                  <a:spcPct val="0"/>
                </a:spcAft>
                <a:buNone/>
              </a:pPr>
              <a:t>Siemes-Gamesa</a:t>
            </a:fld>
            <a:endParaRPr lang="en-AU" sz="1200"/>
          </a:p>
        </p:txBody>
      </p:sp>
      <p:sp>
        <p:nvSpPr>
          <p:cNvPr id="148" name="TextBox 147">
            <a:extLst>
              <a:ext uri="{FF2B5EF4-FFF2-40B4-BE49-F238E27FC236}">
                <a16:creationId xmlns:a16="http://schemas.microsoft.com/office/drawing/2014/main" id="{2A5A37EC-A4FE-DC48-0707-625A8E7B0952}"/>
              </a:ext>
            </a:extLst>
          </p:cNvPr>
          <p:cNvSpPr txBox="1"/>
          <p:nvPr/>
        </p:nvSpPr>
        <p:spPr>
          <a:xfrm rot="16200000">
            <a:off x="5477563" y="2635198"/>
            <a:ext cx="2341617" cy="246221"/>
          </a:xfrm>
          <a:prstGeom prst="rect">
            <a:avLst/>
          </a:prstGeom>
          <a:noFill/>
        </p:spPr>
        <p:txBody>
          <a:bodyPr wrap="square" rtlCol="0">
            <a:spAutoFit/>
          </a:bodyPr>
          <a:lstStyle/>
          <a:p>
            <a:pPr algn="ctr"/>
            <a:r>
              <a:rPr lang="en-AU" sz="1000">
                <a:latin typeface="Segoe UI Semibold" panose="020B0702040204020203" pitchFamily="34" charset="0"/>
                <a:cs typeface="Segoe UI Semibold" panose="020B0702040204020203" pitchFamily="34" charset="0"/>
              </a:rPr>
              <a:t>No. of Turbines</a:t>
            </a:r>
          </a:p>
        </p:txBody>
      </p:sp>
      <p:sp>
        <p:nvSpPr>
          <p:cNvPr id="218" name="Rectangle 217">
            <a:extLst>
              <a:ext uri="{FF2B5EF4-FFF2-40B4-BE49-F238E27FC236}">
                <a16:creationId xmlns:a16="http://schemas.microsoft.com/office/drawing/2014/main" id="{D106A2EA-EAC4-0888-DEA2-E25AFEE01678}"/>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spTree>
    <p:extLst>
      <p:ext uri="{BB962C8B-B14F-4D97-AF65-F5344CB8AC3E}">
        <p14:creationId xmlns:p14="http://schemas.microsoft.com/office/powerpoint/2010/main" val="3381536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1826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592" imgH="591" progId="TCLayout.ActiveDocument.1">
                  <p:embed/>
                </p:oleObj>
              </mc:Choice>
              <mc:Fallback>
                <p:oleObj name="think-cell Slide" r:id="rId5"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70389CF2-9847-4CA5-C5BE-B39689FC3CB7}"/>
              </a:ext>
            </a:extLst>
          </p:cNvPr>
          <p:cNvSpPr>
            <a:spLocks noGrp="1"/>
          </p:cNvSpPr>
          <p:nvPr>
            <p:ph type="title"/>
          </p:nvPr>
        </p:nvSpPr>
        <p:spPr>
          <a:xfrm>
            <a:off x="605232" y="672930"/>
            <a:ext cx="9939600" cy="458484"/>
          </a:xfrm>
        </p:spPr>
        <p:txBody>
          <a:bodyPr vert="horz" lIns="0" tIns="0" rIns="0" anchor="t">
            <a:normAutofit/>
          </a:bodyPr>
          <a:lstStyle/>
          <a:p>
            <a:r>
              <a:rPr lang="en-AU" sz="2400">
                <a:latin typeface="Segoe UI Light" panose="020B0502040204020203" pitchFamily="34" charset="0"/>
                <a:cs typeface="Segoe UI Light" panose="020B0502040204020203" pitchFamily="34" charset="0"/>
              </a:rPr>
              <a:t>US Wind Turbine Industry | </a:t>
            </a:r>
            <a:r>
              <a:rPr lang="en-AU" sz="2400">
                <a:solidFill>
                  <a:schemeClr val="accent1"/>
                </a:solidFill>
                <a:latin typeface="Segoe UI Light" panose="020B0502040204020203" pitchFamily="34" charset="0"/>
                <a:cs typeface="Segoe UI Light" panose="020B0502040204020203" pitchFamily="34" charset="0"/>
              </a:rPr>
              <a:t>focus and objectives</a:t>
            </a:r>
          </a:p>
        </p:txBody>
      </p:sp>
      <p:sp>
        <p:nvSpPr>
          <p:cNvPr id="31" name="Pentagon 11">
            <a:extLst>
              <a:ext uri="{FF2B5EF4-FFF2-40B4-BE49-F238E27FC236}">
                <a16:creationId xmlns:a16="http://schemas.microsoft.com/office/drawing/2014/main" id="{5E48936C-E63F-67E0-820F-555722B08C16}"/>
              </a:ext>
            </a:extLst>
          </p:cNvPr>
          <p:cNvSpPr/>
          <p:nvPr/>
        </p:nvSpPr>
        <p:spPr>
          <a:xfrm>
            <a:off x="605231" y="1929519"/>
            <a:ext cx="2167275" cy="548640"/>
          </a:xfrm>
          <a:prstGeom prst="homePlate">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a:solidFill>
                  <a:schemeClr val="tx1"/>
                </a:solidFill>
              </a:rPr>
              <a:t>Wind Turbine Market</a:t>
            </a:r>
          </a:p>
        </p:txBody>
      </p:sp>
      <p:sp>
        <p:nvSpPr>
          <p:cNvPr id="32" name="Chevron 12">
            <a:extLst>
              <a:ext uri="{FF2B5EF4-FFF2-40B4-BE49-F238E27FC236}">
                <a16:creationId xmlns:a16="http://schemas.microsoft.com/office/drawing/2014/main" id="{CCE265A0-723E-FF14-EB0B-644CF6CE0B41}"/>
              </a:ext>
            </a:extLst>
          </p:cNvPr>
          <p:cNvSpPr/>
          <p:nvPr/>
        </p:nvSpPr>
        <p:spPr>
          <a:xfrm>
            <a:off x="2819958" y="1935143"/>
            <a:ext cx="2167275" cy="548640"/>
          </a:xfrm>
          <a:prstGeom prst="chevron">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200">
                <a:solidFill>
                  <a:schemeClr val="tx1"/>
                </a:solidFill>
              </a:rPr>
              <a:t>Operators Analysis</a:t>
            </a:r>
          </a:p>
        </p:txBody>
      </p:sp>
      <p:sp>
        <p:nvSpPr>
          <p:cNvPr id="33" name="Chevron 14">
            <a:extLst>
              <a:ext uri="{FF2B5EF4-FFF2-40B4-BE49-F238E27FC236}">
                <a16:creationId xmlns:a16="http://schemas.microsoft.com/office/drawing/2014/main" id="{0CFA059E-B439-DEAD-3895-4E06C4CD13B0}"/>
              </a:ext>
            </a:extLst>
          </p:cNvPr>
          <p:cNvSpPr/>
          <p:nvPr/>
        </p:nvSpPr>
        <p:spPr>
          <a:xfrm>
            <a:off x="5034685" y="1935143"/>
            <a:ext cx="2167275" cy="548640"/>
          </a:xfrm>
          <a:prstGeom prst="chevron">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200">
                <a:solidFill>
                  <a:schemeClr val="tx1"/>
                </a:solidFill>
              </a:rPr>
              <a:t>Understanding Turbines</a:t>
            </a:r>
          </a:p>
        </p:txBody>
      </p:sp>
      <p:sp>
        <p:nvSpPr>
          <p:cNvPr id="34" name="Chevron 16">
            <a:extLst>
              <a:ext uri="{FF2B5EF4-FFF2-40B4-BE49-F238E27FC236}">
                <a16:creationId xmlns:a16="http://schemas.microsoft.com/office/drawing/2014/main" id="{7D70AF15-7F56-BF63-A67D-4682851C2781}"/>
              </a:ext>
            </a:extLst>
          </p:cNvPr>
          <p:cNvSpPr/>
          <p:nvPr/>
        </p:nvSpPr>
        <p:spPr>
          <a:xfrm>
            <a:off x="7249412" y="1935143"/>
            <a:ext cx="2167275" cy="548640"/>
          </a:xfrm>
          <a:prstGeom prst="chevron">
            <a:avLst/>
          </a:prstGeom>
          <a:solidFill>
            <a:srgbClr val="20386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200">
                <a:solidFill>
                  <a:schemeClr val="bg1"/>
                </a:solidFill>
              </a:rPr>
              <a:t>Future Outlook</a:t>
            </a:r>
          </a:p>
        </p:txBody>
      </p:sp>
      <p:sp>
        <p:nvSpPr>
          <p:cNvPr id="35" name="Chevron 16">
            <a:extLst>
              <a:ext uri="{FF2B5EF4-FFF2-40B4-BE49-F238E27FC236}">
                <a16:creationId xmlns:a16="http://schemas.microsoft.com/office/drawing/2014/main" id="{36BA7CE2-511A-3CFB-760F-A417C705D14F}"/>
              </a:ext>
            </a:extLst>
          </p:cNvPr>
          <p:cNvSpPr/>
          <p:nvPr/>
        </p:nvSpPr>
        <p:spPr>
          <a:xfrm>
            <a:off x="9464137" y="1929519"/>
            <a:ext cx="2167275" cy="548640"/>
          </a:xfrm>
          <a:prstGeom prst="chevron">
            <a:avLst/>
          </a:prstGeom>
          <a:solidFill>
            <a:schemeClr val="tx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200">
                <a:solidFill>
                  <a:schemeClr val="bg1"/>
                </a:solidFill>
              </a:rPr>
              <a:t>Recommendation &amp; Funding </a:t>
            </a:r>
          </a:p>
        </p:txBody>
      </p:sp>
      <p:sp>
        <p:nvSpPr>
          <p:cNvPr id="38" name="TextBox 37">
            <a:extLst>
              <a:ext uri="{FF2B5EF4-FFF2-40B4-BE49-F238E27FC236}">
                <a16:creationId xmlns:a16="http://schemas.microsoft.com/office/drawing/2014/main" id="{5E79D896-B885-84AE-ED86-35EC269C60EE}"/>
              </a:ext>
            </a:extLst>
          </p:cNvPr>
          <p:cNvSpPr txBox="1"/>
          <p:nvPr/>
        </p:nvSpPr>
        <p:spPr>
          <a:xfrm>
            <a:off x="605231" y="2703016"/>
            <a:ext cx="1899081" cy="2492990"/>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Global market of wind energy </a:t>
            </a:r>
          </a:p>
          <a:p>
            <a:pPr marL="92075" indent="-9207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Current State of the energy and renewable energy market</a:t>
            </a:r>
          </a:p>
          <a:p>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Current State of the wind turbine market</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Evolution of the wind turbine market </a:t>
            </a:r>
          </a:p>
          <a:p>
            <a:pPr marL="92075" indent="-9207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sp>
        <p:nvSpPr>
          <p:cNvPr id="39" name="TextBox 38">
            <a:extLst>
              <a:ext uri="{FF2B5EF4-FFF2-40B4-BE49-F238E27FC236}">
                <a16:creationId xmlns:a16="http://schemas.microsoft.com/office/drawing/2014/main" id="{A0F84B71-56A0-5DC9-6808-7709915C5045}"/>
              </a:ext>
            </a:extLst>
          </p:cNvPr>
          <p:cNvSpPr txBox="1"/>
          <p:nvPr/>
        </p:nvSpPr>
        <p:spPr>
          <a:xfrm>
            <a:off x="2819958" y="2703016"/>
            <a:ext cx="1899081" cy="1569660"/>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Understanding current players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Geographical presence of key players</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Profitability of operators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7A721A47-161F-5A84-44D9-B00783C6B759}"/>
              </a:ext>
            </a:extLst>
          </p:cNvPr>
          <p:cNvSpPr txBox="1"/>
          <p:nvPr/>
        </p:nvSpPr>
        <p:spPr>
          <a:xfrm>
            <a:off x="5034685" y="2703016"/>
            <a:ext cx="1899081" cy="3785652"/>
          </a:xfrm>
          <a:prstGeom prst="rect">
            <a:avLst/>
          </a:prstGeom>
          <a:noFill/>
        </p:spPr>
        <p:txBody>
          <a:bodyPr wrap="square" rtlCol="0">
            <a:spAutoFit/>
          </a:bodyPr>
          <a:lstStyle/>
          <a:p>
            <a:pPr marL="171450" indent="-171450">
              <a:buFont typeface="Arial" panose="020B0604020202020204" pitchFamily="34" charset="0"/>
              <a:buChar char="•"/>
            </a:pPr>
            <a:r>
              <a:rPr lang="en-AU" sz="1200">
                <a:latin typeface="Segoe UI Light" panose="020B0502040204020203" pitchFamily="34" charset="0"/>
                <a:cs typeface="Segoe UI Light" panose="020B0502040204020203" pitchFamily="34" charset="0"/>
              </a:rPr>
              <a:t>Geographical distribution of plants in the US</a:t>
            </a: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AU" sz="1200">
                <a:latin typeface="Segoe UI Light" panose="020B0502040204020203" pitchFamily="34" charset="0"/>
                <a:cs typeface="Segoe UI Light" panose="020B0502040204020203" pitchFamily="34" charset="0"/>
              </a:rPr>
              <a:t>Attributes of plants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Size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Capacity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Location </a:t>
            </a:r>
          </a:p>
          <a:p>
            <a:pPr marL="360363" lvl="1" indent="-185738">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Trends in attributes of wind turbine: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Manufacturers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Capacity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Electricity Generation</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Maintenance requirements </a:t>
            </a:r>
          </a:p>
          <a:p>
            <a:pPr marL="360363" lvl="1" indent="-185738">
              <a:buFont typeface="Arial" panose="020B0604020202020204" pitchFamily="34" charset="0"/>
              <a:buChar char="•"/>
            </a:pPr>
            <a:r>
              <a:rPr lang="en-AU" sz="1200">
                <a:latin typeface="Segoe UI Light" panose="020B0502040204020203" pitchFamily="34" charset="0"/>
                <a:cs typeface="Segoe UI Light" panose="020B0502040204020203" pitchFamily="34" charset="0"/>
              </a:rPr>
              <a:t>Dimensions </a:t>
            </a:r>
          </a:p>
          <a:p>
            <a:pPr indent="-28257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endParaRPr lang="en-AU" sz="1200">
              <a:latin typeface="Segoe UI Light" panose="020B0502040204020203" pitchFamily="34" charset="0"/>
              <a:cs typeface="Segoe UI Light" panose="020B0502040204020203" pitchFamily="34" charset="0"/>
            </a:endParaRPr>
          </a:p>
        </p:txBody>
      </p:sp>
      <p:sp>
        <p:nvSpPr>
          <p:cNvPr id="42" name="TextBox 41">
            <a:extLst>
              <a:ext uri="{FF2B5EF4-FFF2-40B4-BE49-F238E27FC236}">
                <a16:creationId xmlns:a16="http://schemas.microsoft.com/office/drawing/2014/main" id="{7210E481-519F-9502-0EE6-0638F1C64D6C}"/>
              </a:ext>
            </a:extLst>
          </p:cNvPr>
          <p:cNvSpPr txBox="1"/>
          <p:nvPr/>
        </p:nvSpPr>
        <p:spPr>
          <a:xfrm>
            <a:off x="7249412" y="2703016"/>
            <a:ext cx="1899081" cy="1015663"/>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COP27 </a:t>
            </a: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US National Renewable Energy Targets</a:t>
            </a: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Other policies and reforms </a:t>
            </a:r>
          </a:p>
        </p:txBody>
      </p:sp>
      <p:sp>
        <p:nvSpPr>
          <p:cNvPr id="43" name="TextBox 42">
            <a:extLst>
              <a:ext uri="{FF2B5EF4-FFF2-40B4-BE49-F238E27FC236}">
                <a16:creationId xmlns:a16="http://schemas.microsoft.com/office/drawing/2014/main" id="{76083C93-DEBB-70D1-4F78-741A28787C5F}"/>
              </a:ext>
            </a:extLst>
          </p:cNvPr>
          <p:cNvSpPr txBox="1"/>
          <p:nvPr/>
        </p:nvSpPr>
        <p:spPr>
          <a:xfrm>
            <a:off x="9464137" y="2703016"/>
            <a:ext cx="1899081" cy="1200329"/>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Recommendation of operators, dimensions and locations </a:t>
            </a:r>
          </a:p>
          <a:p>
            <a:r>
              <a:rPr lang="en-AU" sz="1200">
                <a:latin typeface="Segoe UI Light" panose="020B0502040204020203" pitchFamily="34" charset="0"/>
                <a:cs typeface="Segoe UI Light" panose="020B0502040204020203" pitchFamily="34" charset="0"/>
              </a:rPr>
              <a:t> </a:t>
            </a: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Potential financier </a:t>
            </a:r>
          </a:p>
          <a:p>
            <a:endParaRPr lang="en-AU" sz="1200">
              <a:latin typeface="Segoe UI Light" panose="020B0502040204020203" pitchFamily="34" charset="0"/>
              <a:cs typeface="Segoe UI Light" panose="020B0502040204020203" pitchFamily="34" charset="0"/>
            </a:endParaRPr>
          </a:p>
        </p:txBody>
      </p:sp>
      <p:sp>
        <p:nvSpPr>
          <p:cNvPr id="45" name="Rectangle 44">
            <a:extLst>
              <a:ext uri="{FF2B5EF4-FFF2-40B4-BE49-F238E27FC236}">
                <a16:creationId xmlns:a16="http://schemas.microsoft.com/office/drawing/2014/main" id="{929159E5-1499-BE18-A995-F3F101C72C45}"/>
              </a:ext>
            </a:extLst>
          </p:cNvPr>
          <p:cNvSpPr/>
          <p:nvPr/>
        </p:nvSpPr>
        <p:spPr>
          <a:xfrm>
            <a:off x="-1266825" y="49530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N</a:t>
            </a:r>
          </a:p>
        </p:txBody>
      </p:sp>
    </p:spTree>
    <p:extLst>
      <p:ext uri="{BB962C8B-B14F-4D97-AF65-F5344CB8AC3E}">
        <p14:creationId xmlns:p14="http://schemas.microsoft.com/office/powerpoint/2010/main" val="39165580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2685820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Manufacturer Analysis | </a:t>
            </a:r>
            <a:r>
              <a:rPr lang="en-AU" sz="2400">
                <a:solidFill>
                  <a:schemeClr val="accent1"/>
                </a:solidFill>
                <a:latin typeface="Segoe UI Light" panose="020B0502040204020203" pitchFamily="34" charset="0"/>
                <a:cs typeface="Segoe UI Light" panose="020B0502040204020203" pitchFamily="34" charset="0"/>
              </a:rPr>
              <a:t>Key players in the market (cont.) </a:t>
            </a:r>
          </a:p>
        </p:txBody>
      </p:sp>
      <p:sp>
        <p:nvSpPr>
          <p:cNvPr id="2" name="Rounded Rectangle 61">
            <a:extLst>
              <a:ext uri="{FF2B5EF4-FFF2-40B4-BE49-F238E27FC236}">
                <a16:creationId xmlns:a16="http://schemas.microsoft.com/office/drawing/2014/main" id="{27A70C6D-4F36-5634-67FD-DB702A91E413}"/>
              </a:ext>
            </a:extLst>
          </p:cNvPr>
          <p:cNvSpPr/>
          <p:nvPr/>
        </p:nvSpPr>
        <p:spPr bwMode="gray">
          <a:xfrm>
            <a:off x="8460055" y="1025748"/>
            <a:ext cx="3303855"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Quality of Turbines by Manufacturer</a:t>
            </a:r>
          </a:p>
        </p:txBody>
      </p:sp>
      <p:sp>
        <p:nvSpPr>
          <p:cNvPr id="7" name="Rounded Rectangle 61">
            <a:extLst>
              <a:ext uri="{FF2B5EF4-FFF2-40B4-BE49-F238E27FC236}">
                <a16:creationId xmlns:a16="http://schemas.microsoft.com/office/drawing/2014/main" id="{D2F05241-B0C8-1B09-FB08-3F061308441B}"/>
              </a:ext>
            </a:extLst>
          </p:cNvPr>
          <p:cNvSpPr/>
          <p:nvPr/>
        </p:nvSpPr>
        <p:spPr bwMode="gray">
          <a:xfrm>
            <a:off x="756045" y="1048767"/>
            <a:ext cx="7553197"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Retrofit by Manufacturer | Turbines Manufactured in 2001 - 2021</a:t>
            </a:r>
          </a:p>
        </p:txBody>
      </p:sp>
      <p:sp>
        <p:nvSpPr>
          <p:cNvPr id="8" name="TextBox 7">
            <a:extLst>
              <a:ext uri="{FF2B5EF4-FFF2-40B4-BE49-F238E27FC236}">
                <a16:creationId xmlns:a16="http://schemas.microsoft.com/office/drawing/2014/main" id="{CC547042-7CE4-54E6-6411-ADE13FFDB19A}"/>
              </a:ext>
            </a:extLst>
          </p:cNvPr>
          <p:cNvSpPr txBox="1"/>
          <p:nvPr/>
        </p:nvSpPr>
        <p:spPr>
          <a:xfrm>
            <a:off x="8450531" y="1484232"/>
            <a:ext cx="3313379" cy="4641976"/>
          </a:xfrm>
          <a:prstGeom prst="rect">
            <a:avLst/>
          </a:prstGeom>
          <a:noFill/>
        </p:spPr>
        <p:txBody>
          <a:bodyPr wrap="square" rtlCol="0">
            <a:spAutoFit/>
          </a:bodyPr>
          <a:lstStyle/>
          <a:p>
            <a:pPr marL="342900" lvl="0" indent="-342900">
              <a:lnSpc>
                <a:spcPct val="107000"/>
              </a:lnSpc>
              <a:spcAft>
                <a:spcPts val="800"/>
              </a:spcAft>
              <a:buFont typeface="Arial" panose="020B0604020202020204" pitchFamily="34" charset="0"/>
              <a:buChar char="•"/>
              <a:tabLst>
                <a:tab pos="4572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Several metrics for quality are explored: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Percentage of Retrofi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Average Capacity by Manufacturer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Average Net Generation by Manufacturer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The typical useful life of a turbine is 20 years and we have therefore elected to analyse turbines operational from 2001 to 2021 with respect to retrofit.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Wind turbines manufactured by GE Wind have the highest percentage of retrofit. </a:t>
            </a:r>
          </a:p>
          <a:p>
            <a:pPr marL="342900" lvl="0" indent="-342900">
              <a:lnSpc>
                <a:spcPct val="107000"/>
              </a:lnSpc>
              <a:spcAft>
                <a:spcPts val="800"/>
              </a:spcAft>
              <a:buFont typeface="Arial" panose="020B0604020202020204" pitchFamily="34" charset="0"/>
              <a:buChar char="•"/>
              <a:tabLst>
                <a:tab pos="4572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When looking at Capacity and Net Generation by Manufacturer</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Turbines manufactured by Nordex, Siemens Gamesa and GE Wind have the highest average turbine capacity. </a:t>
            </a:r>
          </a:p>
          <a:p>
            <a:pPr marL="742950" lvl="1" indent="-285750">
              <a:lnSpc>
                <a:spcPct val="107000"/>
              </a:lnSpc>
              <a:spcAft>
                <a:spcPts val="800"/>
              </a:spcAft>
              <a:buFont typeface="Arial" panose="020B0604020202020204" pitchFamily="34" charset="0"/>
              <a:buChar char="•"/>
              <a:tabLst>
                <a:tab pos="914400" algn="l"/>
              </a:tabLst>
            </a:pPr>
            <a:r>
              <a:rPr lang="en-AU" sz="1100">
                <a:effectLst/>
                <a:latin typeface="Segoe UI Light" panose="020B0502040204020203" pitchFamily="34" charset="0"/>
                <a:ea typeface="Calibri" panose="020F0502020204030204" pitchFamily="34" charset="0"/>
                <a:cs typeface="Segoe UI Light" panose="020B0502040204020203" pitchFamily="34" charset="0"/>
              </a:rPr>
              <a:t>Turbines manufactured by Siemens Gamesa have the highest average net generation per turbine.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sp>
        <p:nvSpPr>
          <p:cNvPr id="10" name="Freeform 584">
            <a:extLst>
              <a:ext uri="{FF2B5EF4-FFF2-40B4-BE49-F238E27FC236}">
                <a16:creationId xmlns:a16="http://schemas.microsoft.com/office/drawing/2014/main" id="{BC24C1ED-DC36-2CA0-FEEF-66CE0E4ED241}"/>
              </a:ext>
            </a:extLst>
          </p:cNvPr>
          <p:cNvSpPr>
            <a:spLocks noChangeAspect="1" noEditPoints="1"/>
          </p:cNvSpPr>
          <p:nvPr/>
        </p:nvSpPr>
        <p:spPr bwMode="auto">
          <a:xfrm>
            <a:off x="605232" y="1002730"/>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15" name="Rounded Rectangle 61">
            <a:extLst>
              <a:ext uri="{FF2B5EF4-FFF2-40B4-BE49-F238E27FC236}">
                <a16:creationId xmlns:a16="http://schemas.microsoft.com/office/drawing/2014/main" id="{FBD36EAE-7D7E-278D-1A34-61B0C8CB6270}"/>
              </a:ext>
            </a:extLst>
          </p:cNvPr>
          <p:cNvSpPr/>
          <p:nvPr/>
        </p:nvSpPr>
        <p:spPr bwMode="gray">
          <a:xfrm>
            <a:off x="756045" y="2864410"/>
            <a:ext cx="7553197"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Turbine Capacity by Manufacturer | Turbines Manufactured in 2017 - 2021</a:t>
            </a:r>
          </a:p>
        </p:txBody>
      </p:sp>
      <p:sp>
        <p:nvSpPr>
          <p:cNvPr id="16" name="Freeform 584">
            <a:extLst>
              <a:ext uri="{FF2B5EF4-FFF2-40B4-BE49-F238E27FC236}">
                <a16:creationId xmlns:a16="http://schemas.microsoft.com/office/drawing/2014/main" id="{C442812B-A6BA-3F24-FFC1-0C6E20861803}"/>
              </a:ext>
            </a:extLst>
          </p:cNvPr>
          <p:cNvSpPr>
            <a:spLocks noChangeAspect="1" noEditPoints="1"/>
          </p:cNvSpPr>
          <p:nvPr/>
        </p:nvSpPr>
        <p:spPr bwMode="auto">
          <a:xfrm>
            <a:off x="605232" y="2818373"/>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20" name="Rounded Rectangle 61">
            <a:extLst>
              <a:ext uri="{FF2B5EF4-FFF2-40B4-BE49-F238E27FC236}">
                <a16:creationId xmlns:a16="http://schemas.microsoft.com/office/drawing/2014/main" id="{299ADF38-0263-E721-3193-1D557F0DC130}"/>
              </a:ext>
            </a:extLst>
          </p:cNvPr>
          <p:cNvSpPr/>
          <p:nvPr/>
        </p:nvSpPr>
        <p:spPr bwMode="gray">
          <a:xfrm>
            <a:off x="765571" y="4880978"/>
            <a:ext cx="7543671"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Net Generation by Manufacturer| Turbines Manufactured in 2017 - 2021</a:t>
            </a:r>
          </a:p>
        </p:txBody>
      </p:sp>
      <p:sp>
        <p:nvSpPr>
          <p:cNvPr id="21" name="Freeform 584">
            <a:extLst>
              <a:ext uri="{FF2B5EF4-FFF2-40B4-BE49-F238E27FC236}">
                <a16:creationId xmlns:a16="http://schemas.microsoft.com/office/drawing/2014/main" id="{1945E11F-DA88-8F1C-1316-8FD7945E473C}"/>
              </a:ext>
            </a:extLst>
          </p:cNvPr>
          <p:cNvSpPr>
            <a:spLocks noChangeAspect="1" noEditPoints="1"/>
          </p:cNvSpPr>
          <p:nvPr/>
        </p:nvSpPr>
        <p:spPr bwMode="auto">
          <a:xfrm>
            <a:off x="614758" y="4834941"/>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pic>
        <p:nvPicPr>
          <p:cNvPr id="23" name="slide2" descr="Quality">
            <a:extLst>
              <a:ext uri="{FF2B5EF4-FFF2-40B4-BE49-F238E27FC236}">
                <a16:creationId xmlns:a16="http://schemas.microsoft.com/office/drawing/2014/main" id="{8E274317-3579-98AA-E25E-F5FB06E9DD57}"/>
              </a:ext>
            </a:extLst>
          </p:cNvPr>
          <p:cNvPicPr>
            <a:picLocks noChangeAspect="1"/>
          </p:cNvPicPr>
          <p:nvPr/>
        </p:nvPicPr>
        <p:blipFill rotWithShape="1">
          <a:blip r:embed="rId7">
            <a:extLst>
              <a:ext uri="{28A0092B-C50C-407E-A947-70E740481C1C}">
                <a14:useLocalDpi xmlns:a14="http://schemas.microsoft.com/office/drawing/2010/main" val="0"/>
              </a:ext>
            </a:extLst>
          </a:blip>
          <a:srcRect l="778" t="38611" r="778" b="35278"/>
          <a:stretch/>
        </p:blipFill>
        <p:spPr>
          <a:xfrm>
            <a:off x="746521" y="3174632"/>
            <a:ext cx="7562722" cy="1633657"/>
          </a:xfrm>
          <a:prstGeom prst="rect">
            <a:avLst/>
          </a:prstGeom>
        </p:spPr>
      </p:pic>
      <p:pic>
        <p:nvPicPr>
          <p:cNvPr id="24" name="slide2" descr="Quality">
            <a:extLst>
              <a:ext uri="{FF2B5EF4-FFF2-40B4-BE49-F238E27FC236}">
                <a16:creationId xmlns:a16="http://schemas.microsoft.com/office/drawing/2014/main" id="{A2B9D301-0683-54AF-7D6D-7A44BBD8C220}"/>
              </a:ext>
            </a:extLst>
          </p:cNvPr>
          <p:cNvPicPr>
            <a:picLocks noChangeAspect="1"/>
          </p:cNvPicPr>
          <p:nvPr/>
        </p:nvPicPr>
        <p:blipFill rotWithShape="1">
          <a:blip r:embed="rId7">
            <a:extLst>
              <a:ext uri="{28A0092B-C50C-407E-A947-70E740481C1C}">
                <a14:useLocalDpi xmlns:a14="http://schemas.microsoft.com/office/drawing/2010/main" val="0"/>
              </a:ext>
            </a:extLst>
          </a:blip>
          <a:srcRect l="1112" t="70833" r="889" b="4028"/>
          <a:stretch/>
        </p:blipFill>
        <p:spPr>
          <a:xfrm>
            <a:off x="756044" y="5182604"/>
            <a:ext cx="7553198" cy="1546970"/>
          </a:xfrm>
          <a:prstGeom prst="rect">
            <a:avLst/>
          </a:prstGeom>
        </p:spPr>
      </p:pic>
      <p:pic>
        <p:nvPicPr>
          <p:cNvPr id="26" name="Picture 25">
            <a:extLst>
              <a:ext uri="{FF2B5EF4-FFF2-40B4-BE49-F238E27FC236}">
                <a16:creationId xmlns:a16="http://schemas.microsoft.com/office/drawing/2014/main" id="{CB8A2DE1-E590-C464-182C-19884AC65189}"/>
              </a:ext>
            </a:extLst>
          </p:cNvPr>
          <p:cNvPicPr>
            <a:picLocks noChangeAspect="1"/>
          </p:cNvPicPr>
          <p:nvPr/>
        </p:nvPicPr>
        <p:blipFill>
          <a:blip r:embed="rId8"/>
          <a:stretch>
            <a:fillRect/>
          </a:stretch>
        </p:blipFill>
        <p:spPr>
          <a:xfrm>
            <a:off x="765570" y="1358989"/>
            <a:ext cx="7543672" cy="1450787"/>
          </a:xfrm>
          <a:prstGeom prst="rect">
            <a:avLst/>
          </a:prstGeom>
        </p:spPr>
      </p:pic>
      <p:sp>
        <p:nvSpPr>
          <p:cNvPr id="27" name="Rectangle 26">
            <a:extLst>
              <a:ext uri="{FF2B5EF4-FFF2-40B4-BE49-F238E27FC236}">
                <a16:creationId xmlns:a16="http://schemas.microsoft.com/office/drawing/2014/main" id="{028D0A89-A6BC-EF8C-F631-CDED08290E82}"/>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spTree>
    <p:extLst>
      <p:ext uri="{BB962C8B-B14F-4D97-AF65-F5344CB8AC3E}">
        <p14:creationId xmlns:p14="http://schemas.microsoft.com/office/powerpoint/2010/main" val="29755777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11382-3FB8-73E1-9B53-7B58EEE2EC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25911382-3FB8-73E1-9B53-7B58EEE2E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B57D8F3-220C-771F-0C3D-FA903D1E5FB1}"/>
              </a:ext>
            </a:extLst>
          </p:cNvPr>
          <p:cNvSpPr txBox="1"/>
          <p:nvPr/>
        </p:nvSpPr>
        <p:spPr>
          <a:xfrm>
            <a:off x="1273994" y="3202969"/>
            <a:ext cx="3369925" cy="584775"/>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Future Outlook</a:t>
            </a:r>
          </a:p>
        </p:txBody>
      </p:sp>
    </p:spTree>
    <p:extLst>
      <p:ext uri="{BB962C8B-B14F-4D97-AF65-F5344CB8AC3E}">
        <p14:creationId xmlns:p14="http://schemas.microsoft.com/office/powerpoint/2010/main" val="2164351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Future Outlook | </a:t>
            </a:r>
            <a:r>
              <a:rPr lang="en-AU" sz="2400">
                <a:solidFill>
                  <a:schemeClr val="accent1"/>
                </a:solidFill>
                <a:latin typeface="Segoe UI Light" panose="020B0502040204020203" pitchFamily="34" charset="0"/>
                <a:cs typeface="Segoe UI Light" panose="020B0502040204020203" pitchFamily="34" charset="0"/>
              </a:rPr>
              <a:t>policies and reforms </a:t>
            </a:r>
          </a:p>
        </p:txBody>
      </p:sp>
      <p:sp>
        <p:nvSpPr>
          <p:cNvPr id="2" name="Rounded Rectangle 61">
            <a:extLst>
              <a:ext uri="{FF2B5EF4-FFF2-40B4-BE49-F238E27FC236}">
                <a16:creationId xmlns:a16="http://schemas.microsoft.com/office/drawing/2014/main" id="{16D8D766-758F-301E-80BE-0190C0ED4A60}"/>
              </a:ext>
            </a:extLst>
          </p:cNvPr>
          <p:cNvSpPr/>
          <p:nvPr/>
        </p:nvSpPr>
        <p:spPr bwMode="gray">
          <a:xfrm>
            <a:off x="623088" y="126409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Targets for green energy in the US. </a:t>
            </a:r>
          </a:p>
        </p:txBody>
      </p:sp>
      <p:sp>
        <p:nvSpPr>
          <p:cNvPr id="3" name="TextBox 2">
            <a:extLst>
              <a:ext uri="{FF2B5EF4-FFF2-40B4-BE49-F238E27FC236}">
                <a16:creationId xmlns:a16="http://schemas.microsoft.com/office/drawing/2014/main" id="{F057510B-D0FD-F91B-16F0-617562C3E7D2}"/>
              </a:ext>
            </a:extLst>
          </p:cNvPr>
          <p:cNvSpPr txBox="1"/>
          <p:nvPr/>
        </p:nvSpPr>
        <p:spPr>
          <a:xfrm>
            <a:off x="605232" y="1602146"/>
            <a:ext cx="5048350" cy="4524315"/>
          </a:xfrm>
          <a:prstGeom prst="rect">
            <a:avLst/>
          </a:prstGeom>
          <a:noFill/>
        </p:spPr>
        <p:txBody>
          <a:bodyPr wrap="square" rtlCol="0">
            <a:spAutoFit/>
          </a:bodyPr>
          <a:lstStyle/>
          <a:p>
            <a:pPr marL="171450" indent="-171450">
              <a:buFont typeface="Arial" panose="020B0604020202020204" pitchFamily="34" charset="0"/>
              <a:buChar char="•"/>
            </a:pPr>
            <a:r>
              <a:rPr lang="en-AU" sz="1200">
                <a:latin typeface="Segoe UI Light" panose="020B0502040204020203" pitchFamily="34" charset="0"/>
                <a:cs typeface="Segoe UI Light" panose="020B0502040204020203" pitchFamily="34" charset="0"/>
              </a:rPr>
              <a:t>There has been significant support by the US government for renewable energy and this has been a key factor in driving growth in the industry.</a:t>
            </a: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628650" lvl="1" indent="-171450">
              <a:buFont typeface="Arial" panose="020B0604020202020204" pitchFamily="34" charset="0"/>
              <a:buChar char="•"/>
            </a:pPr>
            <a:r>
              <a:rPr lang="en-AU" sz="1200">
                <a:latin typeface="Segoe UI Light" panose="020B0502040204020203" pitchFamily="34" charset="0"/>
                <a:cs typeface="Segoe UI Light" panose="020B0502040204020203" pitchFamily="34" charset="0"/>
              </a:rPr>
              <a:t>Federal tax credits for production and investment</a:t>
            </a:r>
          </a:p>
          <a:p>
            <a:pPr marL="628650" lvl="1"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631825" lvl="1"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Federal grants and loan programs including the Department of Agriculture and the Department of Energy</a:t>
            </a:r>
          </a:p>
          <a:p>
            <a:pPr marL="631825" lvl="1"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631825" lvl="1"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State and local government tax credits to help financing projects</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Renewed efforts by the federal government are in play and are projected to further expand the renewable energy market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631825" lvl="1"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Ambitious goals set by the Biden-Harris Administration: mandates to achieve 100% carbon pollution free electricity by 2023 and net zero emissions from federal procurement by 2050 </a:t>
            </a:r>
          </a:p>
          <a:p>
            <a:pPr marL="631825" lvl="1"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631825" lvl="1"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Efforts to improve permitting and regulatory processes for renewable energy projects and investments in US supply chain and manufacturing </a:t>
            </a:r>
          </a:p>
          <a:p>
            <a:pPr marL="631825" lvl="1"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At COP27, climate adaptation was a key focus area, with a particular push towards pledges from nations across the world to commit towards a renewable energy target. </a:t>
            </a:r>
          </a:p>
        </p:txBody>
      </p:sp>
      <p:grpSp>
        <p:nvGrpSpPr>
          <p:cNvPr id="9" name="Group 8">
            <a:extLst>
              <a:ext uri="{FF2B5EF4-FFF2-40B4-BE49-F238E27FC236}">
                <a16:creationId xmlns:a16="http://schemas.microsoft.com/office/drawing/2014/main" id="{CF6DBEA7-C66B-434E-3041-43D61032255A}"/>
              </a:ext>
            </a:extLst>
          </p:cNvPr>
          <p:cNvGrpSpPr>
            <a:grpSpLocks noChangeAspect="1"/>
          </p:cNvGrpSpPr>
          <p:nvPr/>
        </p:nvGrpSpPr>
        <p:grpSpPr>
          <a:xfrm>
            <a:off x="7366572" y="1616118"/>
            <a:ext cx="2710432" cy="3625764"/>
            <a:chOff x="476250" y="3178175"/>
            <a:chExt cx="968375" cy="1295400"/>
          </a:xfrm>
          <a:solidFill>
            <a:schemeClr val="accent6">
              <a:lumMod val="60000"/>
              <a:lumOff val="40000"/>
            </a:schemeClr>
          </a:solidFill>
        </p:grpSpPr>
        <p:sp>
          <p:nvSpPr>
            <p:cNvPr id="10" name="Freeform 74">
              <a:extLst>
                <a:ext uri="{FF2B5EF4-FFF2-40B4-BE49-F238E27FC236}">
                  <a16:creationId xmlns:a16="http://schemas.microsoft.com/office/drawing/2014/main" id="{E1F7F319-4363-71E1-4051-AA118C92031B}"/>
                </a:ext>
              </a:extLst>
            </p:cNvPr>
            <p:cNvSpPr>
              <a:spLocks/>
            </p:cNvSpPr>
            <p:nvPr/>
          </p:nvSpPr>
          <p:spPr bwMode="auto">
            <a:xfrm>
              <a:off x="985838" y="3765550"/>
              <a:ext cx="130175" cy="708025"/>
            </a:xfrm>
            <a:custGeom>
              <a:avLst/>
              <a:gdLst>
                <a:gd name="T0" fmla="*/ 735 w 1640"/>
                <a:gd name="T1" fmla="*/ 71 h 8919"/>
                <a:gd name="T2" fmla="*/ 675 w 1640"/>
                <a:gd name="T3" fmla="*/ 67 h 8919"/>
                <a:gd name="T4" fmla="*/ 616 w 1640"/>
                <a:gd name="T5" fmla="*/ 63 h 8919"/>
                <a:gd name="T6" fmla="*/ 558 w 1640"/>
                <a:gd name="T7" fmla="*/ 56 h 8919"/>
                <a:gd name="T8" fmla="*/ 500 w 1640"/>
                <a:gd name="T9" fmla="*/ 47 h 8919"/>
                <a:gd name="T10" fmla="*/ 442 w 1640"/>
                <a:gd name="T11" fmla="*/ 37 h 8919"/>
                <a:gd name="T12" fmla="*/ 384 w 1640"/>
                <a:gd name="T13" fmla="*/ 24 h 8919"/>
                <a:gd name="T14" fmla="*/ 328 w 1640"/>
                <a:gd name="T15" fmla="*/ 8 h 8919"/>
                <a:gd name="T16" fmla="*/ 0 w 1640"/>
                <a:gd name="T17" fmla="*/ 8519 h 8919"/>
                <a:gd name="T18" fmla="*/ 2 w 1640"/>
                <a:gd name="T19" fmla="*/ 8561 h 8919"/>
                <a:gd name="T20" fmla="*/ 8 w 1640"/>
                <a:gd name="T21" fmla="*/ 8600 h 8919"/>
                <a:gd name="T22" fmla="*/ 18 w 1640"/>
                <a:gd name="T23" fmla="*/ 8639 h 8919"/>
                <a:gd name="T24" fmla="*/ 30 w 1640"/>
                <a:gd name="T25" fmla="*/ 8675 h 8919"/>
                <a:gd name="T26" fmla="*/ 47 w 1640"/>
                <a:gd name="T27" fmla="*/ 8710 h 8919"/>
                <a:gd name="T28" fmla="*/ 67 w 1640"/>
                <a:gd name="T29" fmla="*/ 8744 h 8919"/>
                <a:gd name="T30" fmla="*/ 90 w 1640"/>
                <a:gd name="T31" fmla="*/ 8773 h 8919"/>
                <a:gd name="T32" fmla="*/ 116 w 1640"/>
                <a:gd name="T33" fmla="*/ 8802 h 8919"/>
                <a:gd name="T34" fmla="*/ 144 w 1640"/>
                <a:gd name="T35" fmla="*/ 8828 h 8919"/>
                <a:gd name="T36" fmla="*/ 175 w 1640"/>
                <a:gd name="T37" fmla="*/ 8851 h 8919"/>
                <a:gd name="T38" fmla="*/ 209 w 1640"/>
                <a:gd name="T39" fmla="*/ 8871 h 8919"/>
                <a:gd name="T40" fmla="*/ 243 w 1640"/>
                <a:gd name="T41" fmla="*/ 8887 h 8919"/>
                <a:gd name="T42" fmla="*/ 280 w 1640"/>
                <a:gd name="T43" fmla="*/ 8901 h 8919"/>
                <a:gd name="T44" fmla="*/ 319 w 1640"/>
                <a:gd name="T45" fmla="*/ 8911 h 8919"/>
                <a:gd name="T46" fmla="*/ 359 w 1640"/>
                <a:gd name="T47" fmla="*/ 8917 h 8919"/>
                <a:gd name="T48" fmla="*/ 400 w 1640"/>
                <a:gd name="T49" fmla="*/ 8919 h 8919"/>
                <a:gd name="T50" fmla="*/ 1264 w 1640"/>
                <a:gd name="T51" fmla="*/ 8919 h 8919"/>
                <a:gd name="T52" fmla="*/ 1304 w 1640"/>
                <a:gd name="T53" fmla="*/ 8914 h 8919"/>
                <a:gd name="T54" fmla="*/ 1342 w 1640"/>
                <a:gd name="T55" fmla="*/ 8907 h 8919"/>
                <a:gd name="T56" fmla="*/ 1380 w 1640"/>
                <a:gd name="T57" fmla="*/ 8895 h 8919"/>
                <a:gd name="T58" fmla="*/ 1415 w 1640"/>
                <a:gd name="T59" fmla="*/ 8879 h 8919"/>
                <a:gd name="T60" fmla="*/ 1450 w 1640"/>
                <a:gd name="T61" fmla="*/ 8861 h 8919"/>
                <a:gd name="T62" fmla="*/ 1480 w 1640"/>
                <a:gd name="T63" fmla="*/ 8839 h 8919"/>
                <a:gd name="T64" fmla="*/ 1511 w 1640"/>
                <a:gd name="T65" fmla="*/ 8815 h 8919"/>
                <a:gd name="T66" fmla="*/ 1537 w 1640"/>
                <a:gd name="T67" fmla="*/ 8788 h 8919"/>
                <a:gd name="T68" fmla="*/ 1561 w 1640"/>
                <a:gd name="T69" fmla="*/ 8759 h 8919"/>
                <a:gd name="T70" fmla="*/ 1583 w 1640"/>
                <a:gd name="T71" fmla="*/ 8726 h 8919"/>
                <a:gd name="T72" fmla="*/ 1602 w 1640"/>
                <a:gd name="T73" fmla="*/ 8693 h 8919"/>
                <a:gd name="T74" fmla="*/ 1616 w 1640"/>
                <a:gd name="T75" fmla="*/ 8657 h 8919"/>
                <a:gd name="T76" fmla="*/ 1627 w 1640"/>
                <a:gd name="T77" fmla="*/ 8619 h 8919"/>
                <a:gd name="T78" fmla="*/ 1635 w 1640"/>
                <a:gd name="T79" fmla="*/ 8580 h 8919"/>
                <a:gd name="T80" fmla="*/ 1639 w 1640"/>
                <a:gd name="T81" fmla="*/ 8541 h 8919"/>
                <a:gd name="T82" fmla="*/ 1405 w 1640"/>
                <a:gd name="T83" fmla="*/ 1553 h 8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0" h="8919">
                  <a:moveTo>
                    <a:pt x="765" y="72"/>
                  </a:moveTo>
                  <a:lnTo>
                    <a:pt x="735" y="71"/>
                  </a:lnTo>
                  <a:lnTo>
                    <a:pt x="705" y="69"/>
                  </a:lnTo>
                  <a:lnTo>
                    <a:pt x="675" y="67"/>
                  </a:lnTo>
                  <a:lnTo>
                    <a:pt x="645" y="66"/>
                  </a:lnTo>
                  <a:lnTo>
                    <a:pt x="616" y="63"/>
                  </a:lnTo>
                  <a:lnTo>
                    <a:pt x="586" y="60"/>
                  </a:lnTo>
                  <a:lnTo>
                    <a:pt x="558" y="56"/>
                  </a:lnTo>
                  <a:lnTo>
                    <a:pt x="528" y="52"/>
                  </a:lnTo>
                  <a:lnTo>
                    <a:pt x="500" y="47"/>
                  </a:lnTo>
                  <a:lnTo>
                    <a:pt x="470" y="42"/>
                  </a:lnTo>
                  <a:lnTo>
                    <a:pt x="442" y="37"/>
                  </a:lnTo>
                  <a:lnTo>
                    <a:pt x="413" y="30"/>
                  </a:lnTo>
                  <a:lnTo>
                    <a:pt x="384" y="24"/>
                  </a:lnTo>
                  <a:lnTo>
                    <a:pt x="357" y="16"/>
                  </a:lnTo>
                  <a:lnTo>
                    <a:pt x="328" y="8"/>
                  </a:lnTo>
                  <a:lnTo>
                    <a:pt x="301" y="0"/>
                  </a:lnTo>
                  <a:lnTo>
                    <a:pt x="0" y="8519"/>
                  </a:lnTo>
                  <a:lnTo>
                    <a:pt x="0" y="8541"/>
                  </a:lnTo>
                  <a:lnTo>
                    <a:pt x="2" y="8561"/>
                  </a:lnTo>
                  <a:lnTo>
                    <a:pt x="5" y="8580"/>
                  </a:lnTo>
                  <a:lnTo>
                    <a:pt x="8" y="8600"/>
                  </a:lnTo>
                  <a:lnTo>
                    <a:pt x="12" y="8619"/>
                  </a:lnTo>
                  <a:lnTo>
                    <a:pt x="18" y="8639"/>
                  </a:lnTo>
                  <a:lnTo>
                    <a:pt x="24" y="8657"/>
                  </a:lnTo>
                  <a:lnTo>
                    <a:pt x="30" y="8675"/>
                  </a:lnTo>
                  <a:lnTo>
                    <a:pt x="38" y="8693"/>
                  </a:lnTo>
                  <a:lnTo>
                    <a:pt x="47" y="8710"/>
                  </a:lnTo>
                  <a:lnTo>
                    <a:pt x="57" y="8726"/>
                  </a:lnTo>
                  <a:lnTo>
                    <a:pt x="67" y="8744"/>
                  </a:lnTo>
                  <a:lnTo>
                    <a:pt x="78" y="8759"/>
                  </a:lnTo>
                  <a:lnTo>
                    <a:pt x="90" y="8773"/>
                  </a:lnTo>
                  <a:lnTo>
                    <a:pt x="103" y="8788"/>
                  </a:lnTo>
                  <a:lnTo>
                    <a:pt x="116" y="8802"/>
                  </a:lnTo>
                  <a:lnTo>
                    <a:pt x="130" y="8815"/>
                  </a:lnTo>
                  <a:lnTo>
                    <a:pt x="144" y="8828"/>
                  </a:lnTo>
                  <a:lnTo>
                    <a:pt x="160" y="8839"/>
                  </a:lnTo>
                  <a:lnTo>
                    <a:pt x="175" y="8851"/>
                  </a:lnTo>
                  <a:lnTo>
                    <a:pt x="191" y="8861"/>
                  </a:lnTo>
                  <a:lnTo>
                    <a:pt x="209" y="8871"/>
                  </a:lnTo>
                  <a:lnTo>
                    <a:pt x="225" y="8879"/>
                  </a:lnTo>
                  <a:lnTo>
                    <a:pt x="243" y="8887"/>
                  </a:lnTo>
                  <a:lnTo>
                    <a:pt x="262" y="8895"/>
                  </a:lnTo>
                  <a:lnTo>
                    <a:pt x="280" y="8901"/>
                  </a:lnTo>
                  <a:lnTo>
                    <a:pt x="300" y="8907"/>
                  </a:lnTo>
                  <a:lnTo>
                    <a:pt x="319" y="8911"/>
                  </a:lnTo>
                  <a:lnTo>
                    <a:pt x="338" y="8914"/>
                  </a:lnTo>
                  <a:lnTo>
                    <a:pt x="359" y="8917"/>
                  </a:lnTo>
                  <a:lnTo>
                    <a:pt x="379" y="8919"/>
                  </a:lnTo>
                  <a:lnTo>
                    <a:pt x="400" y="8919"/>
                  </a:lnTo>
                  <a:lnTo>
                    <a:pt x="1243" y="8919"/>
                  </a:lnTo>
                  <a:lnTo>
                    <a:pt x="1264" y="8919"/>
                  </a:lnTo>
                  <a:lnTo>
                    <a:pt x="1284" y="8917"/>
                  </a:lnTo>
                  <a:lnTo>
                    <a:pt x="1304" y="8914"/>
                  </a:lnTo>
                  <a:lnTo>
                    <a:pt x="1323" y="8911"/>
                  </a:lnTo>
                  <a:lnTo>
                    <a:pt x="1342" y="8907"/>
                  </a:lnTo>
                  <a:lnTo>
                    <a:pt x="1361" y="8901"/>
                  </a:lnTo>
                  <a:lnTo>
                    <a:pt x="1380" y="8895"/>
                  </a:lnTo>
                  <a:lnTo>
                    <a:pt x="1397" y="8887"/>
                  </a:lnTo>
                  <a:lnTo>
                    <a:pt x="1415" y="8879"/>
                  </a:lnTo>
                  <a:lnTo>
                    <a:pt x="1432" y="8871"/>
                  </a:lnTo>
                  <a:lnTo>
                    <a:pt x="1450" y="8861"/>
                  </a:lnTo>
                  <a:lnTo>
                    <a:pt x="1465" y="8851"/>
                  </a:lnTo>
                  <a:lnTo>
                    <a:pt x="1480" y="8839"/>
                  </a:lnTo>
                  <a:lnTo>
                    <a:pt x="1495" y="8828"/>
                  </a:lnTo>
                  <a:lnTo>
                    <a:pt x="1511" y="8815"/>
                  </a:lnTo>
                  <a:lnTo>
                    <a:pt x="1524" y="8802"/>
                  </a:lnTo>
                  <a:lnTo>
                    <a:pt x="1537" y="8788"/>
                  </a:lnTo>
                  <a:lnTo>
                    <a:pt x="1550" y="8773"/>
                  </a:lnTo>
                  <a:lnTo>
                    <a:pt x="1561" y="8759"/>
                  </a:lnTo>
                  <a:lnTo>
                    <a:pt x="1572" y="8744"/>
                  </a:lnTo>
                  <a:lnTo>
                    <a:pt x="1583" y="8726"/>
                  </a:lnTo>
                  <a:lnTo>
                    <a:pt x="1592" y="8710"/>
                  </a:lnTo>
                  <a:lnTo>
                    <a:pt x="1602" y="8693"/>
                  </a:lnTo>
                  <a:lnTo>
                    <a:pt x="1609" y="8675"/>
                  </a:lnTo>
                  <a:lnTo>
                    <a:pt x="1616" y="8657"/>
                  </a:lnTo>
                  <a:lnTo>
                    <a:pt x="1622" y="8639"/>
                  </a:lnTo>
                  <a:lnTo>
                    <a:pt x="1627" y="8619"/>
                  </a:lnTo>
                  <a:lnTo>
                    <a:pt x="1632" y="8600"/>
                  </a:lnTo>
                  <a:lnTo>
                    <a:pt x="1635" y="8580"/>
                  </a:lnTo>
                  <a:lnTo>
                    <a:pt x="1638" y="8561"/>
                  </a:lnTo>
                  <a:lnTo>
                    <a:pt x="1639" y="8541"/>
                  </a:lnTo>
                  <a:lnTo>
                    <a:pt x="1640" y="8519"/>
                  </a:lnTo>
                  <a:lnTo>
                    <a:pt x="1405" y="1553"/>
                  </a:lnTo>
                  <a:lnTo>
                    <a:pt x="76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ZA" sz="2205"/>
            </a:p>
          </p:txBody>
        </p:sp>
        <p:sp>
          <p:nvSpPr>
            <p:cNvPr id="11" name="Freeform 75">
              <a:extLst>
                <a:ext uri="{FF2B5EF4-FFF2-40B4-BE49-F238E27FC236}">
                  <a16:creationId xmlns:a16="http://schemas.microsoft.com/office/drawing/2014/main" id="{EEF158C6-DB4B-C825-3AF8-ABFA80635A45}"/>
                </a:ext>
              </a:extLst>
            </p:cNvPr>
            <p:cNvSpPr>
              <a:spLocks/>
            </p:cNvSpPr>
            <p:nvPr/>
          </p:nvSpPr>
          <p:spPr bwMode="auto">
            <a:xfrm>
              <a:off x="476250" y="3178175"/>
              <a:ext cx="968375" cy="1006475"/>
            </a:xfrm>
            <a:custGeom>
              <a:avLst/>
              <a:gdLst>
                <a:gd name="T0" fmla="*/ 8129 w 12200"/>
                <a:gd name="T1" fmla="*/ 6493 h 12674"/>
                <a:gd name="T2" fmla="*/ 8180 w 12200"/>
                <a:gd name="T3" fmla="*/ 6433 h 12674"/>
                <a:gd name="T4" fmla="*/ 8227 w 12200"/>
                <a:gd name="T5" fmla="*/ 6369 h 12674"/>
                <a:gd name="T6" fmla="*/ 8268 w 12200"/>
                <a:gd name="T7" fmla="*/ 6301 h 12674"/>
                <a:gd name="T8" fmla="*/ 8306 w 12200"/>
                <a:gd name="T9" fmla="*/ 6230 h 12674"/>
                <a:gd name="T10" fmla="*/ 8338 w 12200"/>
                <a:gd name="T11" fmla="*/ 6157 h 12674"/>
                <a:gd name="T12" fmla="*/ 8364 w 12200"/>
                <a:gd name="T13" fmla="*/ 6079 h 12674"/>
                <a:gd name="T14" fmla="*/ 8386 w 12200"/>
                <a:gd name="T15" fmla="*/ 6001 h 12674"/>
                <a:gd name="T16" fmla="*/ 8401 w 12200"/>
                <a:gd name="T17" fmla="*/ 5919 h 12674"/>
                <a:gd name="T18" fmla="*/ 8411 w 12200"/>
                <a:gd name="T19" fmla="*/ 5836 h 12674"/>
                <a:gd name="T20" fmla="*/ 8414 w 12200"/>
                <a:gd name="T21" fmla="*/ 5752 h 12674"/>
                <a:gd name="T22" fmla="*/ 8408 w 12200"/>
                <a:gd name="T23" fmla="*/ 5644 h 12674"/>
                <a:gd name="T24" fmla="*/ 8393 w 12200"/>
                <a:gd name="T25" fmla="*/ 5539 h 12674"/>
                <a:gd name="T26" fmla="*/ 8367 w 12200"/>
                <a:gd name="T27" fmla="*/ 5438 h 12674"/>
                <a:gd name="T28" fmla="*/ 8333 w 12200"/>
                <a:gd name="T29" fmla="*/ 5341 h 12674"/>
                <a:gd name="T30" fmla="*/ 8291 w 12200"/>
                <a:gd name="T31" fmla="*/ 5248 h 12674"/>
                <a:gd name="T32" fmla="*/ 7667 w 12200"/>
                <a:gd name="T33" fmla="*/ 4703 h 12674"/>
                <a:gd name="T34" fmla="*/ 7602 w 12200"/>
                <a:gd name="T35" fmla="*/ 4684 h 12674"/>
                <a:gd name="T36" fmla="*/ 7535 w 12200"/>
                <a:gd name="T37" fmla="*/ 4667 h 12674"/>
                <a:gd name="T38" fmla="*/ 7466 w 12200"/>
                <a:gd name="T39" fmla="*/ 4654 h 12674"/>
                <a:gd name="T40" fmla="*/ 7396 w 12200"/>
                <a:gd name="T41" fmla="*/ 4647 h 12674"/>
                <a:gd name="T42" fmla="*/ 7324 w 12200"/>
                <a:gd name="T43" fmla="*/ 4643 h 12674"/>
                <a:gd name="T44" fmla="*/ 7231 w 12200"/>
                <a:gd name="T45" fmla="*/ 4645 h 12674"/>
                <a:gd name="T46" fmla="*/ 7129 w 12200"/>
                <a:gd name="T47" fmla="*/ 4656 h 12674"/>
                <a:gd name="T48" fmla="*/ 7030 w 12200"/>
                <a:gd name="T49" fmla="*/ 4677 h 12674"/>
                <a:gd name="T50" fmla="*/ 6934 w 12200"/>
                <a:gd name="T51" fmla="*/ 4705 h 12674"/>
                <a:gd name="T52" fmla="*/ 6842 w 12200"/>
                <a:gd name="T53" fmla="*/ 4742 h 12674"/>
                <a:gd name="T54" fmla="*/ 6754 w 12200"/>
                <a:gd name="T55" fmla="*/ 4787 h 12674"/>
                <a:gd name="T56" fmla="*/ 6670 w 12200"/>
                <a:gd name="T57" fmla="*/ 4839 h 12674"/>
                <a:gd name="T58" fmla="*/ 6593 w 12200"/>
                <a:gd name="T59" fmla="*/ 4898 h 12674"/>
                <a:gd name="T60" fmla="*/ 6520 w 12200"/>
                <a:gd name="T61" fmla="*/ 4963 h 12674"/>
                <a:gd name="T62" fmla="*/ 6454 w 12200"/>
                <a:gd name="T63" fmla="*/ 5036 h 12674"/>
                <a:gd name="T64" fmla="*/ 6394 w 12200"/>
                <a:gd name="T65" fmla="*/ 5113 h 12674"/>
                <a:gd name="T66" fmla="*/ 6205 w 12200"/>
                <a:gd name="T67" fmla="*/ 5927 h 12674"/>
                <a:gd name="T68" fmla="*/ 6240 w 12200"/>
                <a:gd name="T69" fmla="*/ 6076 h 12674"/>
                <a:gd name="T70" fmla="*/ 6294 w 12200"/>
                <a:gd name="T71" fmla="*/ 6218 h 12674"/>
                <a:gd name="T72" fmla="*/ 6366 w 12200"/>
                <a:gd name="T73" fmla="*/ 6350 h 12674"/>
                <a:gd name="T74" fmla="*/ 6455 w 12200"/>
                <a:gd name="T75" fmla="*/ 6469 h 12674"/>
                <a:gd name="T76" fmla="*/ 6558 w 12200"/>
                <a:gd name="T77" fmla="*/ 6576 h 12674"/>
                <a:gd name="T78" fmla="*/ 6676 w 12200"/>
                <a:gd name="T79" fmla="*/ 6668 h 12674"/>
                <a:gd name="T80" fmla="*/ 6804 w 12200"/>
                <a:gd name="T81" fmla="*/ 6744 h 12674"/>
                <a:gd name="T82" fmla="*/ 6944 w 12200"/>
                <a:gd name="T83" fmla="*/ 6802 h 12674"/>
                <a:gd name="T84" fmla="*/ 7092 w 12200"/>
                <a:gd name="T85" fmla="*/ 6842 h 12674"/>
                <a:gd name="T86" fmla="*/ 7247 w 12200"/>
                <a:gd name="T87" fmla="*/ 6861 h 12674"/>
                <a:gd name="T88" fmla="*/ 7330 w 12200"/>
                <a:gd name="T89" fmla="*/ 6862 h 12674"/>
                <a:gd name="T90" fmla="*/ 9862 w 12200"/>
                <a:gd name="T91" fmla="*/ 12674 h 1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00" h="12674">
                  <a:moveTo>
                    <a:pt x="8092" y="6532"/>
                  </a:moveTo>
                  <a:lnTo>
                    <a:pt x="8110" y="6514"/>
                  </a:lnTo>
                  <a:lnTo>
                    <a:pt x="8129" y="6493"/>
                  </a:lnTo>
                  <a:lnTo>
                    <a:pt x="8146" y="6474"/>
                  </a:lnTo>
                  <a:lnTo>
                    <a:pt x="8163" y="6454"/>
                  </a:lnTo>
                  <a:lnTo>
                    <a:pt x="8180" y="6433"/>
                  </a:lnTo>
                  <a:lnTo>
                    <a:pt x="8196" y="6413"/>
                  </a:lnTo>
                  <a:lnTo>
                    <a:pt x="8211" y="6390"/>
                  </a:lnTo>
                  <a:lnTo>
                    <a:pt x="8227" y="6369"/>
                  </a:lnTo>
                  <a:lnTo>
                    <a:pt x="8241" y="6346"/>
                  </a:lnTo>
                  <a:lnTo>
                    <a:pt x="8255" y="6324"/>
                  </a:lnTo>
                  <a:lnTo>
                    <a:pt x="8268" y="6301"/>
                  </a:lnTo>
                  <a:lnTo>
                    <a:pt x="8282" y="6278"/>
                  </a:lnTo>
                  <a:lnTo>
                    <a:pt x="8294" y="6255"/>
                  </a:lnTo>
                  <a:lnTo>
                    <a:pt x="8306" y="6230"/>
                  </a:lnTo>
                  <a:lnTo>
                    <a:pt x="8317" y="6206"/>
                  </a:lnTo>
                  <a:lnTo>
                    <a:pt x="8328" y="6181"/>
                  </a:lnTo>
                  <a:lnTo>
                    <a:pt x="8338" y="6157"/>
                  </a:lnTo>
                  <a:lnTo>
                    <a:pt x="8347" y="6131"/>
                  </a:lnTo>
                  <a:lnTo>
                    <a:pt x="8356" y="6106"/>
                  </a:lnTo>
                  <a:lnTo>
                    <a:pt x="8364" y="6079"/>
                  </a:lnTo>
                  <a:lnTo>
                    <a:pt x="8372" y="6054"/>
                  </a:lnTo>
                  <a:lnTo>
                    <a:pt x="8380" y="6027"/>
                  </a:lnTo>
                  <a:lnTo>
                    <a:pt x="8386" y="6001"/>
                  </a:lnTo>
                  <a:lnTo>
                    <a:pt x="8392" y="5974"/>
                  </a:lnTo>
                  <a:lnTo>
                    <a:pt x="8397" y="5947"/>
                  </a:lnTo>
                  <a:lnTo>
                    <a:pt x="8401" y="5919"/>
                  </a:lnTo>
                  <a:lnTo>
                    <a:pt x="8405" y="5892"/>
                  </a:lnTo>
                  <a:lnTo>
                    <a:pt x="8408" y="5864"/>
                  </a:lnTo>
                  <a:lnTo>
                    <a:pt x="8411" y="5836"/>
                  </a:lnTo>
                  <a:lnTo>
                    <a:pt x="8412" y="5808"/>
                  </a:lnTo>
                  <a:lnTo>
                    <a:pt x="8413" y="5780"/>
                  </a:lnTo>
                  <a:lnTo>
                    <a:pt x="8414" y="5752"/>
                  </a:lnTo>
                  <a:lnTo>
                    <a:pt x="8413" y="5715"/>
                  </a:lnTo>
                  <a:lnTo>
                    <a:pt x="8412" y="5679"/>
                  </a:lnTo>
                  <a:lnTo>
                    <a:pt x="8408" y="5644"/>
                  </a:lnTo>
                  <a:lnTo>
                    <a:pt x="8404" y="5608"/>
                  </a:lnTo>
                  <a:lnTo>
                    <a:pt x="8399" y="5573"/>
                  </a:lnTo>
                  <a:lnTo>
                    <a:pt x="8393" y="5539"/>
                  </a:lnTo>
                  <a:lnTo>
                    <a:pt x="8386" y="5505"/>
                  </a:lnTo>
                  <a:lnTo>
                    <a:pt x="8377" y="5471"/>
                  </a:lnTo>
                  <a:lnTo>
                    <a:pt x="8367" y="5438"/>
                  </a:lnTo>
                  <a:lnTo>
                    <a:pt x="8357" y="5406"/>
                  </a:lnTo>
                  <a:lnTo>
                    <a:pt x="8346" y="5373"/>
                  </a:lnTo>
                  <a:lnTo>
                    <a:pt x="8333" y="5341"/>
                  </a:lnTo>
                  <a:lnTo>
                    <a:pt x="8319" y="5310"/>
                  </a:lnTo>
                  <a:lnTo>
                    <a:pt x="8305" y="5279"/>
                  </a:lnTo>
                  <a:lnTo>
                    <a:pt x="8291" y="5248"/>
                  </a:lnTo>
                  <a:lnTo>
                    <a:pt x="8274" y="5218"/>
                  </a:lnTo>
                  <a:lnTo>
                    <a:pt x="12200" y="0"/>
                  </a:lnTo>
                  <a:lnTo>
                    <a:pt x="7667" y="4703"/>
                  </a:lnTo>
                  <a:lnTo>
                    <a:pt x="7646" y="4696"/>
                  </a:lnTo>
                  <a:lnTo>
                    <a:pt x="7623" y="4690"/>
                  </a:lnTo>
                  <a:lnTo>
                    <a:pt x="7602" y="4684"/>
                  </a:lnTo>
                  <a:lnTo>
                    <a:pt x="7580" y="4678"/>
                  </a:lnTo>
                  <a:lnTo>
                    <a:pt x="7557" y="4672"/>
                  </a:lnTo>
                  <a:lnTo>
                    <a:pt x="7535" y="4667"/>
                  </a:lnTo>
                  <a:lnTo>
                    <a:pt x="7512" y="4662"/>
                  </a:lnTo>
                  <a:lnTo>
                    <a:pt x="7490" y="4658"/>
                  </a:lnTo>
                  <a:lnTo>
                    <a:pt x="7466" y="4654"/>
                  </a:lnTo>
                  <a:lnTo>
                    <a:pt x="7443" y="4651"/>
                  </a:lnTo>
                  <a:lnTo>
                    <a:pt x="7419" y="4649"/>
                  </a:lnTo>
                  <a:lnTo>
                    <a:pt x="7396" y="4647"/>
                  </a:lnTo>
                  <a:lnTo>
                    <a:pt x="7372" y="4645"/>
                  </a:lnTo>
                  <a:lnTo>
                    <a:pt x="7348" y="4644"/>
                  </a:lnTo>
                  <a:lnTo>
                    <a:pt x="7324" y="4643"/>
                  </a:lnTo>
                  <a:lnTo>
                    <a:pt x="7300" y="4643"/>
                  </a:lnTo>
                  <a:lnTo>
                    <a:pt x="7265" y="4643"/>
                  </a:lnTo>
                  <a:lnTo>
                    <a:pt x="7231" y="4645"/>
                  </a:lnTo>
                  <a:lnTo>
                    <a:pt x="7196" y="4647"/>
                  </a:lnTo>
                  <a:lnTo>
                    <a:pt x="7162" y="4651"/>
                  </a:lnTo>
                  <a:lnTo>
                    <a:pt x="7129" y="4656"/>
                  </a:lnTo>
                  <a:lnTo>
                    <a:pt x="7095" y="4661"/>
                  </a:lnTo>
                  <a:lnTo>
                    <a:pt x="7062" y="4669"/>
                  </a:lnTo>
                  <a:lnTo>
                    <a:pt x="7030" y="4677"/>
                  </a:lnTo>
                  <a:lnTo>
                    <a:pt x="6997" y="4685"/>
                  </a:lnTo>
                  <a:lnTo>
                    <a:pt x="6965" y="4695"/>
                  </a:lnTo>
                  <a:lnTo>
                    <a:pt x="6934" y="4705"/>
                  </a:lnTo>
                  <a:lnTo>
                    <a:pt x="6902" y="4716"/>
                  </a:lnTo>
                  <a:lnTo>
                    <a:pt x="6871" y="4729"/>
                  </a:lnTo>
                  <a:lnTo>
                    <a:pt x="6842" y="4742"/>
                  </a:lnTo>
                  <a:lnTo>
                    <a:pt x="6812" y="4756"/>
                  </a:lnTo>
                  <a:lnTo>
                    <a:pt x="6783" y="4772"/>
                  </a:lnTo>
                  <a:lnTo>
                    <a:pt x="6754" y="4787"/>
                  </a:lnTo>
                  <a:lnTo>
                    <a:pt x="6726" y="4803"/>
                  </a:lnTo>
                  <a:lnTo>
                    <a:pt x="6698" y="4821"/>
                  </a:lnTo>
                  <a:lnTo>
                    <a:pt x="6670" y="4839"/>
                  </a:lnTo>
                  <a:lnTo>
                    <a:pt x="6645" y="4858"/>
                  </a:lnTo>
                  <a:lnTo>
                    <a:pt x="6618" y="4878"/>
                  </a:lnTo>
                  <a:lnTo>
                    <a:pt x="6593" y="4898"/>
                  </a:lnTo>
                  <a:lnTo>
                    <a:pt x="6568" y="4919"/>
                  </a:lnTo>
                  <a:lnTo>
                    <a:pt x="6544" y="4941"/>
                  </a:lnTo>
                  <a:lnTo>
                    <a:pt x="6520" y="4963"/>
                  </a:lnTo>
                  <a:lnTo>
                    <a:pt x="6498" y="4987"/>
                  </a:lnTo>
                  <a:lnTo>
                    <a:pt x="6476" y="5011"/>
                  </a:lnTo>
                  <a:lnTo>
                    <a:pt x="6454" y="5036"/>
                  </a:lnTo>
                  <a:lnTo>
                    <a:pt x="6434" y="5060"/>
                  </a:lnTo>
                  <a:lnTo>
                    <a:pt x="6413" y="5087"/>
                  </a:lnTo>
                  <a:lnTo>
                    <a:pt x="6394" y="5113"/>
                  </a:lnTo>
                  <a:lnTo>
                    <a:pt x="0" y="4344"/>
                  </a:lnTo>
                  <a:lnTo>
                    <a:pt x="6198" y="5875"/>
                  </a:lnTo>
                  <a:lnTo>
                    <a:pt x="6205" y="5927"/>
                  </a:lnTo>
                  <a:lnTo>
                    <a:pt x="6214" y="5977"/>
                  </a:lnTo>
                  <a:lnTo>
                    <a:pt x="6226" y="6027"/>
                  </a:lnTo>
                  <a:lnTo>
                    <a:pt x="6240" y="6076"/>
                  </a:lnTo>
                  <a:lnTo>
                    <a:pt x="6255" y="6125"/>
                  </a:lnTo>
                  <a:lnTo>
                    <a:pt x="6273" y="6172"/>
                  </a:lnTo>
                  <a:lnTo>
                    <a:pt x="6294" y="6218"/>
                  </a:lnTo>
                  <a:lnTo>
                    <a:pt x="6316" y="6263"/>
                  </a:lnTo>
                  <a:lnTo>
                    <a:pt x="6340" y="6307"/>
                  </a:lnTo>
                  <a:lnTo>
                    <a:pt x="6366" y="6350"/>
                  </a:lnTo>
                  <a:lnTo>
                    <a:pt x="6394" y="6390"/>
                  </a:lnTo>
                  <a:lnTo>
                    <a:pt x="6423" y="6431"/>
                  </a:lnTo>
                  <a:lnTo>
                    <a:pt x="6455" y="6469"/>
                  </a:lnTo>
                  <a:lnTo>
                    <a:pt x="6488" y="6507"/>
                  </a:lnTo>
                  <a:lnTo>
                    <a:pt x="6522" y="6542"/>
                  </a:lnTo>
                  <a:lnTo>
                    <a:pt x="6558" y="6576"/>
                  </a:lnTo>
                  <a:lnTo>
                    <a:pt x="6596" y="6609"/>
                  </a:lnTo>
                  <a:lnTo>
                    <a:pt x="6635" y="6639"/>
                  </a:lnTo>
                  <a:lnTo>
                    <a:pt x="6676" y="6668"/>
                  </a:lnTo>
                  <a:lnTo>
                    <a:pt x="6717" y="6695"/>
                  </a:lnTo>
                  <a:lnTo>
                    <a:pt x="6760" y="6721"/>
                  </a:lnTo>
                  <a:lnTo>
                    <a:pt x="6804" y="6744"/>
                  </a:lnTo>
                  <a:lnTo>
                    <a:pt x="6850" y="6766"/>
                  </a:lnTo>
                  <a:lnTo>
                    <a:pt x="6896" y="6785"/>
                  </a:lnTo>
                  <a:lnTo>
                    <a:pt x="6944" y="6802"/>
                  </a:lnTo>
                  <a:lnTo>
                    <a:pt x="6992" y="6818"/>
                  </a:lnTo>
                  <a:lnTo>
                    <a:pt x="7042" y="6831"/>
                  </a:lnTo>
                  <a:lnTo>
                    <a:pt x="7092" y="6842"/>
                  </a:lnTo>
                  <a:lnTo>
                    <a:pt x="7143" y="6850"/>
                  </a:lnTo>
                  <a:lnTo>
                    <a:pt x="7195" y="6856"/>
                  </a:lnTo>
                  <a:lnTo>
                    <a:pt x="7247" y="6861"/>
                  </a:lnTo>
                  <a:lnTo>
                    <a:pt x="7300" y="6862"/>
                  </a:lnTo>
                  <a:lnTo>
                    <a:pt x="7314" y="6862"/>
                  </a:lnTo>
                  <a:lnTo>
                    <a:pt x="7330" y="6862"/>
                  </a:lnTo>
                  <a:lnTo>
                    <a:pt x="7344" y="6861"/>
                  </a:lnTo>
                  <a:lnTo>
                    <a:pt x="7358" y="6860"/>
                  </a:lnTo>
                  <a:lnTo>
                    <a:pt x="9862" y="12674"/>
                  </a:lnTo>
                  <a:lnTo>
                    <a:pt x="8092" y="65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ZA" sz="2205"/>
            </a:p>
          </p:txBody>
        </p:sp>
        <p:sp>
          <p:nvSpPr>
            <p:cNvPr id="12" name="Freeform 76">
              <a:extLst>
                <a:ext uri="{FF2B5EF4-FFF2-40B4-BE49-F238E27FC236}">
                  <a16:creationId xmlns:a16="http://schemas.microsoft.com/office/drawing/2014/main" id="{9A4BF9C7-AD45-71EC-D1B7-36ACD337951E}"/>
                </a:ext>
              </a:extLst>
            </p:cNvPr>
            <p:cNvSpPr>
              <a:spLocks/>
            </p:cNvSpPr>
            <p:nvPr/>
          </p:nvSpPr>
          <p:spPr bwMode="auto">
            <a:xfrm>
              <a:off x="541338" y="4183063"/>
              <a:ext cx="420688" cy="266700"/>
            </a:xfrm>
            <a:custGeom>
              <a:avLst/>
              <a:gdLst>
                <a:gd name="T0" fmla="*/ 4971 w 5299"/>
                <a:gd name="T1" fmla="*/ 1012 h 3361"/>
                <a:gd name="T2" fmla="*/ 5089 w 5299"/>
                <a:gd name="T3" fmla="*/ 1219 h 3361"/>
                <a:gd name="T4" fmla="*/ 5180 w 5299"/>
                <a:gd name="T5" fmla="*/ 1419 h 3361"/>
                <a:gd name="T6" fmla="*/ 5243 w 5299"/>
                <a:gd name="T7" fmla="*/ 1609 h 3361"/>
                <a:gd name="T8" fmla="*/ 5283 w 5299"/>
                <a:gd name="T9" fmla="*/ 1790 h 3361"/>
                <a:gd name="T10" fmla="*/ 5298 w 5299"/>
                <a:gd name="T11" fmla="*/ 1963 h 3361"/>
                <a:gd name="T12" fmla="*/ 5293 w 5299"/>
                <a:gd name="T13" fmla="*/ 2125 h 3361"/>
                <a:gd name="T14" fmla="*/ 5269 w 5299"/>
                <a:gd name="T15" fmla="*/ 2279 h 3361"/>
                <a:gd name="T16" fmla="*/ 5236 w 5299"/>
                <a:gd name="T17" fmla="*/ 2282 h 3361"/>
                <a:gd name="T18" fmla="*/ 4733 w 5299"/>
                <a:gd name="T19" fmla="*/ 1714 h 3361"/>
                <a:gd name="T20" fmla="*/ 4085 w 5299"/>
                <a:gd name="T21" fmla="*/ 1186 h 3361"/>
                <a:gd name="T22" fmla="*/ 3471 w 5299"/>
                <a:gd name="T23" fmla="*/ 864 h 3361"/>
                <a:gd name="T24" fmla="*/ 2912 w 5299"/>
                <a:gd name="T25" fmla="*/ 702 h 3361"/>
                <a:gd name="T26" fmla="*/ 2430 w 5299"/>
                <a:gd name="T27" fmla="*/ 657 h 3361"/>
                <a:gd name="T28" fmla="*/ 2046 w 5299"/>
                <a:gd name="T29" fmla="*/ 685 h 3361"/>
                <a:gd name="T30" fmla="*/ 1784 w 5299"/>
                <a:gd name="T31" fmla="*/ 740 h 3361"/>
                <a:gd name="T32" fmla="*/ 1675 w 5299"/>
                <a:gd name="T33" fmla="*/ 779 h 3361"/>
                <a:gd name="T34" fmla="*/ 1842 w 5299"/>
                <a:gd name="T35" fmla="*/ 770 h 3361"/>
                <a:gd name="T36" fmla="*/ 2090 w 5299"/>
                <a:gd name="T37" fmla="*/ 788 h 3361"/>
                <a:gd name="T38" fmla="*/ 2423 w 5299"/>
                <a:gd name="T39" fmla="*/ 853 h 3361"/>
                <a:gd name="T40" fmla="*/ 2824 w 5299"/>
                <a:gd name="T41" fmla="*/ 994 h 3361"/>
                <a:gd name="T42" fmla="*/ 3276 w 5299"/>
                <a:gd name="T43" fmla="*/ 1234 h 3361"/>
                <a:gd name="T44" fmla="*/ 3762 w 5299"/>
                <a:gd name="T45" fmla="*/ 1601 h 3361"/>
                <a:gd name="T46" fmla="*/ 4267 w 5299"/>
                <a:gd name="T47" fmla="*/ 2120 h 3361"/>
                <a:gd name="T48" fmla="*/ 4597 w 5299"/>
                <a:gd name="T49" fmla="*/ 2532 h 3361"/>
                <a:gd name="T50" fmla="*/ 4852 w 5299"/>
                <a:gd name="T51" fmla="*/ 2836 h 3361"/>
                <a:gd name="T52" fmla="*/ 4834 w 5299"/>
                <a:gd name="T53" fmla="*/ 2978 h 3361"/>
                <a:gd name="T54" fmla="*/ 4723 w 5299"/>
                <a:gd name="T55" fmla="*/ 3065 h 3361"/>
                <a:gd name="T56" fmla="*/ 4605 w 5299"/>
                <a:gd name="T57" fmla="*/ 3141 h 3361"/>
                <a:gd name="T58" fmla="*/ 4484 w 5299"/>
                <a:gd name="T59" fmla="*/ 3206 h 3361"/>
                <a:gd name="T60" fmla="*/ 4363 w 5299"/>
                <a:gd name="T61" fmla="*/ 3260 h 3361"/>
                <a:gd name="T62" fmla="*/ 4239 w 5299"/>
                <a:gd name="T63" fmla="*/ 3303 h 3361"/>
                <a:gd name="T64" fmla="*/ 4119 w 5299"/>
                <a:gd name="T65" fmla="*/ 3335 h 3361"/>
                <a:gd name="T66" fmla="*/ 4001 w 5299"/>
                <a:gd name="T67" fmla="*/ 3354 h 3361"/>
                <a:gd name="T68" fmla="*/ 3564 w 5299"/>
                <a:gd name="T69" fmla="*/ 3320 h 3361"/>
                <a:gd name="T70" fmla="*/ 3056 w 5299"/>
                <a:gd name="T71" fmla="*/ 3064 h 3361"/>
                <a:gd name="T72" fmla="*/ 2578 w 5299"/>
                <a:gd name="T73" fmla="*/ 2644 h 3361"/>
                <a:gd name="T74" fmla="*/ 2117 w 5299"/>
                <a:gd name="T75" fmla="*/ 2133 h 3361"/>
                <a:gd name="T76" fmla="*/ 1656 w 5299"/>
                <a:gd name="T77" fmla="*/ 1610 h 3361"/>
                <a:gd name="T78" fmla="*/ 1184 w 5299"/>
                <a:gd name="T79" fmla="*/ 1150 h 3361"/>
                <a:gd name="T80" fmla="*/ 684 w 5299"/>
                <a:gd name="T81" fmla="*/ 828 h 3361"/>
                <a:gd name="T82" fmla="*/ 143 w 5299"/>
                <a:gd name="T83" fmla="*/ 722 h 3361"/>
                <a:gd name="T84" fmla="*/ 238 w 5299"/>
                <a:gd name="T85" fmla="*/ 632 h 3361"/>
                <a:gd name="T86" fmla="*/ 714 w 5299"/>
                <a:gd name="T87" fmla="*/ 446 h 3361"/>
                <a:gd name="T88" fmla="*/ 1369 w 5299"/>
                <a:gd name="T89" fmla="*/ 237 h 3361"/>
                <a:gd name="T90" fmla="*/ 2137 w 5299"/>
                <a:gd name="T91" fmla="*/ 68 h 3361"/>
                <a:gd name="T92" fmla="*/ 2949 w 5299"/>
                <a:gd name="T93" fmla="*/ 0 h 3361"/>
                <a:gd name="T94" fmla="*/ 3739 w 5299"/>
                <a:gd name="T95" fmla="*/ 97 h 3361"/>
                <a:gd name="T96" fmla="*/ 4439 w 5299"/>
                <a:gd name="T97" fmla="*/ 421 h 3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99" h="3361">
                  <a:moveTo>
                    <a:pt x="4863" y="850"/>
                  </a:moveTo>
                  <a:lnTo>
                    <a:pt x="4901" y="904"/>
                  </a:lnTo>
                  <a:lnTo>
                    <a:pt x="4937" y="958"/>
                  </a:lnTo>
                  <a:lnTo>
                    <a:pt x="4971" y="1012"/>
                  </a:lnTo>
                  <a:lnTo>
                    <a:pt x="5003" y="1064"/>
                  </a:lnTo>
                  <a:lnTo>
                    <a:pt x="5034" y="1117"/>
                  </a:lnTo>
                  <a:lnTo>
                    <a:pt x="5063" y="1169"/>
                  </a:lnTo>
                  <a:lnTo>
                    <a:pt x="5089" y="1219"/>
                  </a:lnTo>
                  <a:lnTo>
                    <a:pt x="5115" y="1270"/>
                  </a:lnTo>
                  <a:lnTo>
                    <a:pt x="5138" y="1320"/>
                  </a:lnTo>
                  <a:lnTo>
                    <a:pt x="5159" y="1370"/>
                  </a:lnTo>
                  <a:lnTo>
                    <a:pt x="5180" y="1419"/>
                  </a:lnTo>
                  <a:lnTo>
                    <a:pt x="5198" y="1467"/>
                  </a:lnTo>
                  <a:lnTo>
                    <a:pt x="5215" y="1515"/>
                  </a:lnTo>
                  <a:lnTo>
                    <a:pt x="5230" y="1563"/>
                  </a:lnTo>
                  <a:lnTo>
                    <a:pt x="5243" y="1609"/>
                  </a:lnTo>
                  <a:lnTo>
                    <a:pt x="5255" y="1655"/>
                  </a:lnTo>
                  <a:lnTo>
                    <a:pt x="5267" y="1701"/>
                  </a:lnTo>
                  <a:lnTo>
                    <a:pt x="5275" y="1745"/>
                  </a:lnTo>
                  <a:lnTo>
                    <a:pt x="5283" y="1790"/>
                  </a:lnTo>
                  <a:lnTo>
                    <a:pt x="5289" y="1834"/>
                  </a:lnTo>
                  <a:lnTo>
                    <a:pt x="5293" y="1877"/>
                  </a:lnTo>
                  <a:lnTo>
                    <a:pt x="5297" y="1920"/>
                  </a:lnTo>
                  <a:lnTo>
                    <a:pt x="5298" y="1963"/>
                  </a:lnTo>
                  <a:lnTo>
                    <a:pt x="5299" y="2003"/>
                  </a:lnTo>
                  <a:lnTo>
                    <a:pt x="5298" y="2044"/>
                  </a:lnTo>
                  <a:lnTo>
                    <a:pt x="5297" y="2085"/>
                  </a:lnTo>
                  <a:lnTo>
                    <a:pt x="5293" y="2125"/>
                  </a:lnTo>
                  <a:lnTo>
                    <a:pt x="5289" y="2165"/>
                  </a:lnTo>
                  <a:lnTo>
                    <a:pt x="5284" y="2203"/>
                  </a:lnTo>
                  <a:lnTo>
                    <a:pt x="5277" y="2241"/>
                  </a:lnTo>
                  <a:lnTo>
                    <a:pt x="5269" y="2279"/>
                  </a:lnTo>
                  <a:lnTo>
                    <a:pt x="5259" y="2316"/>
                  </a:lnTo>
                  <a:lnTo>
                    <a:pt x="5252" y="2304"/>
                  </a:lnTo>
                  <a:lnTo>
                    <a:pt x="5244" y="2293"/>
                  </a:lnTo>
                  <a:lnTo>
                    <a:pt x="5236" y="2282"/>
                  </a:lnTo>
                  <a:lnTo>
                    <a:pt x="5227" y="2271"/>
                  </a:lnTo>
                  <a:lnTo>
                    <a:pt x="5062" y="2069"/>
                  </a:lnTo>
                  <a:lnTo>
                    <a:pt x="4896" y="1883"/>
                  </a:lnTo>
                  <a:lnTo>
                    <a:pt x="4733" y="1714"/>
                  </a:lnTo>
                  <a:lnTo>
                    <a:pt x="4569" y="1561"/>
                  </a:lnTo>
                  <a:lnTo>
                    <a:pt x="4405" y="1422"/>
                  </a:lnTo>
                  <a:lnTo>
                    <a:pt x="4244" y="1297"/>
                  </a:lnTo>
                  <a:lnTo>
                    <a:pt x="4085" y="1186"/>
                  </a:lnTo>
                  <a:lnTo>
                    <a:pt x="3927" y="1089"/>
                  </a:lnTo>
                  <a:lnTo>
                    <a:pt x="3773" y="1002"/>
                  </a:lnTo>
                  <a:lnTo>
                    <a:pt x="3620" y="927"/>
                  </a:lnTo>
                  <a:lnTo>
                    <a:pt x="3471" y="864"/>
                  </a:lnTo>
                  <a:lnTo>
                    <a:pt x="3325" y="810"/>
                  </a:lnTo>
                  <a:lnTo>
                    <a:pt x="3183" y="765"/>
                  </a:lnTo>
                  <a:lnTo>
                    <a:pt x="3045" y="729"/>
                  </a:lnTo>
                  <a:lnTo>
                    <a:pt x="2912" y="702"/>
                  </a:lnTo>
                  <a:lnTo>
                    <a:pt x="2784" y="682"/>
                  </a:lnTo>
                  <a:lnTo>
                    <a:pt x="2659" y="667"/>
                  </a:lnTo>
                  <a:lnTo>
                    <a:pt x="2542" y="660"/>
                  </a:lnTo>
                  <a:lnTo>
                    <a:pt x="2430" y="657"/>
                  </a:lnTo>
                  <a:lnTo>
                    <a:pt x="2324" y="659"/>
                  </a:lnTo>
                  <a:lnTo>
                    <a:pt x="2225" y="664"/>
                  </a:lnTo>
                  <a:lnTo>
                    <a:pt x="2132" y="673"/>
                  </a:lnTo>
                  <a:lnTo>
                    <a:pt x="2046" y="685"/>
                  </a:lnTo>
                  <a:lnTo>
                    <a:pt x="1969" y="698"/>
                  </a:lnTo>
                  <a:lnTo>
                    <a:pt x="1899" y="711"/>
                  </a:lnTo>
                  <a:lnTo>
                    <a:pt x="1837" y="726"/>
                  </a:lnTo>
                  <a:lnTo>
                    <a:pt x="1784" y="740"/>
                  </a:lnTo>
                  <a:lnTo>
                    <a:pt x="1740" y="753"/>
                  </a:lnTo>
                  <a:lnTo>
                    <a:pt x="1680" y="773"/>
                  </a:lnTo>
                  <a:lnTo>
                    <a:pt x="1658" y="782"/>
                  </a:lnTo>
                  <a:lnTo>
                    <a:pt x="1675" y="779"/>
                  </a:lnTo>
                  <a:lnTo>
                    <a:pt x="1721" y="775"/>
                  </a:lnTo>
                  <a:lnTo>
                    <a:pt x="1754" y="772"/>
                  </a:lnTo>
                  <a:lnTo>
                    <a:pt x="1795" y="771"/>
                  </a:lnTo>
                  <a:lnTo>
                    <a:pt x="1842" y="770"/>
                  </a:lnTo>
                  <a:lnTo>
                    <a:pt x="1895" y="771"/>
                  </a:lnTo>
                  <a:lnTo>
                    <a:pt x="1954" y="775"/>
                  </a:lnTo>
                  <a:lnTo>
                    <a:pt x="2020" y="779"/>
                  </a:lnTo>
                  <a:lnTo>
                    <a:pt x="2090" y="788"/>
                  </a:lnTo>
                  <a:lnTo>
                    <a:pt x="2167" y="799"/>
                  </a:lnTo>
                  <a:lnTo>
                    <a:pt x="2247" y="812"/>
                  </a:lnTo>
                  <a:lnTo>
                    <a:pt x="2333" y="830"/>
                  </a:lnTo>
                  <a:lnTo>
                    <a:pt x="2423" y="853"/>
                  </a:lnTo>
                  <a:lnTo>
                    <a:pt x="2518" y="880"/>
                  </a:lnTo>
                  <a:lnTo>
                    <a:pt x="2616" y="912"/>
                  </a:lnTo>
                  <a:lnTo>
                    <a:pt x="2718" y="950"/>
                  </a:lnTo>
                  <a:lnTo>
                    <a:pt x="2824" y="994"/>
                  </a:lnTo>
                  <a:lnTo>
                    <a:pt x="2932" y="1043"/>
                  </a:lnTo>
                  <a:lnTo>
                    <a:pt x="3044" y="1100"/>
                  </a:lnTo>
                  <a:lnTo>
                    <a:pt x="3158" y="1163"/>
                  </a:lnTo>
                  <a:lnTo>
                    <a:pt x="3276" y="1234"/>
                  </a:lnTo>
                  <a:lnTo>
                    <a:pt x="3394" y="1313"/>
                  </a:lnTo>
                  <a:lnTo>
                    <a:pt x="3516" y="1400"/>
                  </a:lnTo>
                  <a:lnTo>
                    <a:pt x="3638" y="1497"/>
                  </a:lnTo>
                  <a:lnTo>
                    <a:pt x="3762" y="1601"/>
                  </a:lnTo>
                  <a:lnTo>
                    <a:pt x="3887" y="1716"/>
                  </a:lnTo>
                  <a:lnTo>
                    <a:pt x="4014" y="1839"/>
                  </a:lnTo>
                  <a:lnTo>
                    <a:pt x="4140" y="1975"/>
                  </a:lnTo>
                  <a:lnTo>
                    <a:pt x="4267" y="2120"/>
                  </a:lnTo>
                  <a:lnTo>
                    <a:pt x="4394" y="2276"/>
                  </a:lnTo>
                  <a:lnTo>
                    <a:pt x="4464" y="2365"/>
                  </a:lnTo>
                  <a:lnTo>
                    <a:pt x="4531" y="2449"/>
                  </a:lnTo>
                  <a:lnTo>
                    <a:pt x="4597" y="2532"/>
                  </a:lnTo>
                  <a:lnTo>
                    <a:pt x="4663" y="2611"/>
                  </a:lnTo>
                  <a:lnTo>
                    <a:pt x="4727" y="2689"/>
                  </a:lnTo>
                  <a:lnTo>
                    <a:pt x="4790" y="2764"/>
                  </a:lnTo>
                  <a:lnTo>
                    <a:pt x="4852" y="2836"/>
                  </a:lnTo>
                  <a:lnTo>
                    <a:pt x="4913" y="2906"/>
                  </a:lnTo>
                  <a:lnTo>
                    <a:pt x="4887" y="2931"/>
                  </a:lnTo>
                  <a:lnTo>
                    <a:pt x="4861" y="2955"/>
                  </a:lnTo>
                  <a:lnTo>
                    <a:pt x="4834" y="2978"/>
                  </a:lnTo>
                  <a:lnTo>
                    <a:pt x="4806" y="3001"/>
                  </a:lnTo>
                  <a:lnTo>
                    <a:pt x="4779" y="3022"/>
                  </a:lnTo>
                  <a:lnTo>
                    <a:pt x="4751" y="3044"/>
                  </a:lnTo>
                  <a:lnTo>
                    <a:pt x="4723" y="3065"/>
                  </a:lnTo>
                  <a:lnTo>
                    <a:pt x="4693" y="3085"/>
                  </a:lnTo>
                  <a:lnTo>
                    <a:pt x="4665" y="3105"/>
                  </a:lnTo>
                  <a:lnTo>
                    <a:pt x="4635" y="3123"/>
                  </a:lnTo>
                  <a:lnTo>
                    <a:pt x="4605" y="3141"/>
                  </a:lnTo>
                  <a:lnTo>
                    <a:pt x="4575" y="3158"/>
                  </a:lnTo>
                  <a:lnTo>
                    <a:pt x="4545" y="3175"/>
                  </a:lnTo>
                  <a:lnTo>
                    <a:pt x="4515" y="3191"/>
                  </a:lnTo>
                  <a:lnTo>
                    <a:pt x="4484" y="3206"/>
                  </a:lnTo>
                  <a:lnTo>
                    <a:pt x="4454" y="3220"/>
                  </a:lnTo>
                  <a:lnTo>
                    <a:pt x="4423" y="3235"/>
                  </a:lnTo>
                  <a:lnTo>
                    <a:pt x="4393" y="3248"/>
                  </a:lnTo>
                  <a:lnTo>
                    <a:pt x="4363" y="3260"/>
                  </a:lnTo>
                  <a:lnTo>
                    <a:pt x="4332" y="3272"/>
                  </a:lnTo>
                  <a:lnTo>
                    <a:pt x="4300" y="3283"/>
                  </a:lnTo>
                  <a:lnTo>
                    <a:pt x="4270" y="3293"/>
                  </a:lnTo>
                  <a:lnTo>
                    <a:pt x="4239" y="3303"/>
                  </a:lnTo>
                  <a:lnTo>
                    <a:pt x="4209" y="3312"/>
                  </a:lnTo>
                  <a:lnTo>
                    <a:pt x="4179" y="3320"/>
                  </a:lnTo>
                  <a:lnTo>
                    <a:pt x="4148" y="3327"/>
                  </a:lnTo>
                  <a:lnTo>
                    <a:pt x="4119" y="3335"/>
                  </a:lnTo>
                  <a:lnTo>
                    <a:pt x="4089" y="3341"/>
                  </a:lnTo>
                  <a:lnTo>
                    <a:pt x="4059" y="3346"/>
                  </a:lnTo>
                  <a:lnTo>
                    <a:pt x="4030" y="3350"/>
                  </a:lnTo>
                  <a:lnTo>
                    <a:pt x="4001" y="3354"/>
                  </a:lnTo>
                  <a:lnTo>
                    <a:pt x="3973" y="3357"/>
                  </a:lnTo>
                  <a:lnTo>
                    <a:pt x="3834" y="3361"/>
                  </a:lnTo>
                  <a:lnTo>
                    <a:pt x="3697" y="3349"/>
                  </a:lnTo>
                  <a:lnTo>
                    <a:pt x="3564" y="3320"/>
                  </a:lnTo>
                  <a:lnTo>
                    <a:pt x="3434" y="3275"/>
                  </a:lnTo>
                  <a:lnTo>
                    <a:pt x="3305" y="3218"/>
                  </a:lnTo>
                  <a:lnTo>
                    <a:pt x="3180" y="3147"/>
                  </a:lnTo>
                  <a:lnTo>
                    <a:pt x="3056" y="3064"/>
                  </a:lnTo>
                  <a:lnTo>
                    <a:pt x="2935" y="2971"/>
                  </a:lnTo>
                  <a:lnTo>
                    <a:pt x="2815" y="2870"/>
                  </a:lnTo>
                  <a:lnTo>
                    <a:pt x="2696" y="2760"/>
                  </a:lnTo>
                  <a:lnTo>
                    <a:pt x="2578" y="2644"/>
                  </a:lnTo>
                  <a:lnTo>
                    <a:pt x="2463" y="2522"/>
                  </a:lnTo>
                  <a:lnTo>
                    <a:pt x="2346" y="2395"/>
                  </a:lnTo>
                  <a:lnTo>
                    <a:pt x="2232" y="2266"/>
                  </a:lnTo>
                  <a:lnTo>
                    <a:pt x="2117" y="2133"/>
                  </a:lnTo>
                  <a:lnTo>
                    <a:pt x="2002" y="2000"/>
                  </a:lnTo>
                  <a:lnTo>
                    <a:pt x="1887" y="1868"/>
                  </a:lnTo>
                  <a:lnTo>
                    <a:pt x="1772" y="1737"/>
                  </a:lnTo>
                  <a:lnTo>
                    <a:pt x="1656" y="1610"/>
                  </a:lnTo>
                  <a:lnTo>
                    <a:pt x="1540" y="1485"/>
                  </a:lnTo>
                  <a:lnTo>
                    <a:pt x="1423" y="1367"/>
                  </a:lnTo>
                  <a:lnTo>
                    <a:pt x="1303" y="1255"/>
                  </a:lnTo>
                  <a:lnTo>
                    <a:pt x="1184" y="1150"/>
                  </a:lnTo>
                  <a:lnTo>
                    <a:pt x="1062" y="1053"/>
                  </a:lnTo>
                  <a:lnTo>
                    <a:pt x="938" y="966"/>
                  </a:lnTo>
                  <a:lnTo>
                    <a:pt x="812" y="891"/>
                  </a:lnTo>
                  <a:lnTo>
                    <a:pt x="684" y="828"/>
                  </a:lnTo>
                  <a:lnTo>
                    <a:pt x="553" y="778"/>
                  </a:lnTo>
                  <a:lnTo>
                    <a:pt x="420" y="744"/>
                  </a:lnTo>
                  <a:lnTo>
                    <a:pt x="283" y="724"/>
                  </a:lnTo>
                  <a:lnTo>
                    <a:pt x="143" y="722"/>
                  </a:lnTo>
                  <a:lnTo>
                    <a:pt x="0" y="739"/>
                  </a:lnTo>
                  <a:lnTo>
                    <a:pt x="40" y="720"/>
                  </a:lnTo>
                  <a:lnTo>
                    <a:pt x="155" y="667"/>
                  </a:lnTo>
                  <a:lnTo>
                    <a:pt x="238" y="632"/>
                  </a:lnTo>
                  <a:lnTo>
                    <a:pt x="336" y="591"/>
                  </a:lnTo>
                  <a:lnTo>
                    <a:pt x="449" y="545"/>
                  </a:lnTo>
                  <a:lnTo>
                    <a:pt x="575" y="497"/>
                  </a:lnTo>
                  <a:lnTo>
                    <a:pt x="714" y="446"/>
                  </a:lnTo>
                  <a:lnTo>
                    <a:pt x="863" y="393"/>
                  </a:lnTo>
                  <a:lnTo>
                    <a:pt x="1023" y="340"/>
                  </a:lnTo>
                  <a:lnTo>
                    <a:pt x="1192" y="288"/>
                  </a:lnTo>
                  <a:lnTo>
                    <a:pt x="1369" y="237"/>
                  </a:lnTo>
                  <a:lnTo>
                    <a:pt x="1552" y="188"/>
                  </a:lnTo>
                  <a:lnTo>
                    <a:pt x="1743" y="144"/>
                  </a:lnTo>
                  <a:lnTo>
                    <a:pt x="1938" y="102"/>
                  </a:lnTo>
                  <a:lnTo>
                    <a:pt x="2137" y="68"/>
                  </a:lnTo>
                  <a:lnTo>
                    <a:pt x="2338" y="39"/>
                  </a:lnTo>
                  <a:lnTo>
                    <a:pt x="2541" y="18"/>
                  </a:lnTo>
                  <a:lnTo>
                    <a:pt x="2746" y="4"/>
                  </a:lnTo>
                  <a:lnTo>
                    <a:pt x="2949" y="0"/>
                  </a:lnTo>
                  <a:lnTo>
                    <a:pt x="3151" y="7"/>
                  </a:lnTo>
                  <a:lnTo>
                    <a:pt x="3351" y="25"/>
                  </a:lnTo>
                  <a:lnTo>
                    <a:pt x="3548" y="54"/>
                  </a:lnTo>
                  <a:lnTo>
                    <a:pt x="3739" y="97"/>
                  </a:lnTo>
                  <a:lnTo>
                    <a:pt x="3926" y="155"/>
                  </a:lnTo>
                  <a:lnTo>
                    <a:pt x="4104" y="228"/>
                  </a:lnTo>
                  <a:lnTo>
                    <a:pt x="4276" y="315"/>
                  </a:lnTo>
                  <a:lnTo>
                    <a:pt x="4439" y="421"/>
                  </a:lnTo>
                  <a:lnTo>
                    <a:pt x="4591" y="545"/>
                  </a:lnTo>
                  <a:lnTo>
                    <a:pt x="4733" y="688"/>
                  </a:lnTo>
                  <a:lnTo>
                    <a:pt x="4863"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ZA" sz="2205"/>
            </a:p>
          </p:txBody>
        </p:sp>
        <p:sp>
          <p:nvSpPr>
            <p:cNvPr id="13" name="Freeform 77">
              <a:extLst>
                <a:ext uri="{FF2B5EF4-FFF2-40B4-BE49-F238E27FC236}">
                  <a16:creationId xmlns:a16="http://schemas.microsoft.com/office/drawing/2014/main" id="{EA64F4D2-9BFF-28FE-83A2-6C7412840012}"/>
                </a:ext>
              </a:extLst>
            </p:cNvPr>
            <p:cNvSpPr>
              <a:spLocks/>
            </p:cNvSpPr>
            <p:nvPr/>
          </p:nvSpPr>
          <p:spPr bwMode="auto">
            <a:xfrm>
              <a:off x="776288" y="3984625"/>
              <a:ext cx="141288" cy="212725"/>
            </a:xfrm>
            <a:custGeom>
              <a:avLst/>
              <a:gdLst>
                <a:gd name="T0" fmla="*/ 886 w 1772"/>
                <a:gd name="T1" fmla="*/ 2136 h 2676"/>
                <a:gd name="T2" fmla="*/ 825 w 1772"/>
                <a:gd name="T3" fmla="*/ 1872 h 2676"/>
                <a:gd name="T4" fmla="*/ 760 w 1772"/>
                <a:gd name="T5" fmla="*/ 1607 h 2676"/>
                <a:gd name="T6" fmla="*/ 693 w 1772"/>
                <a:gd name="T7" fmla="*/ 1344 h 2676"/>
                <a:gd name="T8" fmla="*/ 623 w 1772"/>
                <a:gd name="T9" fmla="*/ 1088 h 2676"/>
                <a:gd name="T10" fmla="*/ 580 w 1772"/>
                <a:gd name="T11" fmla="*/ 932 h 2676"/>
                <a:gd name="T12" fmla="*/ 648 w 1772"/>
                <a:gd name="T13" fmla="*/ 1052 h 2676"/>
                <a:gd name="T14" fmla="*/ 774 w 1772"/>
                <a:gd name="T15" fmla="*/ 1291 h 2676"/>
                <a:gd name="T16" fmla="*/ 939 w 1772"/>
                <a:gd name="T17" fmla="*/ 1618 h 2676"/>
                <a:gd name="T18" fmla="*/ 1086 w 1772"/>
                <a:gd name="T19" fmla="*/ 1936 h 2676"/>
                <a:gd name="T20" fmla="*/ 1175 w 1772"/>
                <a:gd name="T21" fmla="*/ 2140 h 2676"/>
                <a:gd name="T22" fmla="*/ 1260 w 1772"/>
                <a:gd name="T23" fmla="*/ 2348 h 2676"/>
                <a:gd name="T24" fmla="*/ 1345 w 1772"/>
                <a:gd name="T25" fmla="*/ 2442 h 2676"/>
                <a:gd name="T26" fmla="*/ 1429 w 1772"/>
                <a:gd name="T27" fmla="*/ 2483 h 2676"/>
                <a:gd name="T28" fmla="*/ 1512 w 1772"/>
                <a:gd name="T29" fmla="*/ 2530 h 2676"/>
                <a:gd name="T30" fmla="*/ 1592 w 1772"/>
                <a:gd name="T31" fmla="*/ 2580 h 2676"/>
                <a:gd name="T32" fmla="*/ 1668 w 1772"/>
                <a:gd name="T33" fmla="*/ 2636 h 2676"/>
                <a:gd name="T34" fmla="*/ 1748 w 1772"/>
                <a:gd name="T35" fmla="*/ 2560 h 2676"/>
                <a:gd name="T36" fmla="*/ 1767 w 1772"/>
                <a:gd name="T37" fmla="*/ 2211 h 2676"/>
                <a:gd name="T38" fmla="*/ 1698 w 1772"/>
                <a:gd name="T39" fmla="*/ 1859 h 2676"/>
                <a:gd name="T40" fmla="*/ 1557 w 1772"/>
                <a:gd name="T41" fmla="*/ 1514 h 2676"/>
                <a:gd name="T42" fmla="*/ 1366 w 1772"/>
                <a:gd name="T43" fmla="*/ 1186 h 2676"/>
                <a:gd name="T44" fmla="*/ 1144 w 1772"/>
                <a:gd name="T45" fmla="*/ 880 h 2676"/>
                <a:gd name="T46" fmla="*/ 912 w 1772"/>
                <a:gd name="T47" fmla="*/ 607 h 2676"/>
                <a:gd name="T48" fmla="*/ 690 w 1772"/>
                <a:gd name="T49" fmla="*/ 375 h 2676"/>
                <a:gd name="T50" fmla="*/ 498 w 1772"/>
                <a:gd name="T51" fmla="*/ 191 h 2676"/>
                <a:gd name="T52" fmla="*/ 355 w 1772"/>
                <a:gd name="T53" fmla="*/ 66 h 2676"/>
                <a:gd name="T54" fmla="*/ 248 w 1772"/>
                <a:gd name="T55" fmla="*/ 89 h 2676"/>
                <a:gd name="T56" fmla="*/ 169 w 1772"/>
                <a:gd name="T57" fmla="*/ 346 h 2676"/>
                <a:gd name="T58" fmla="*/ 107 w 1772"/>
                <a:gd name="T59" fmla="*/ 591 h 2676"/>
                <a:gd name="T60" fmla="*/ 59 w 1772"/>
                <a:gd name="T61" fmla="*/ 825 h 2676"/>
                <a:gd name="T62" fmla="*/ 25 w 1772"/>
                <a:gd name="T63" fmla="*/ 1050 h 2676"/>
                <a:gd name="T64" fmla="*/ 6 w 1772"/>
                <a:gd name="T65" fmla="*/ 1264 h 2676"/>
                <a:gd name="T66" fmla="*/ 0 w 1772"/>
                <a:gd name="T67" fmla="*/ 1469 h 2676"/>
                <a:gd name="T68" fmla="*/ 5 w 1772"/>
                <a:gd name="T69" fmla="*/ 1668 h 2676"/>
                <a:gd name="T70" fmla="*/ 23 w 1772"/>
                <a:gd name="T71" fmla="*/ 1858 h 2676"/>
                <a:gd name="T72" fmla="*/ 52 w 1772"/>
                <a:gd name="T73" fmla="*/ 2041 h 2676"/>
                <a:gd name="T74" fmla="*/ 92 w 1772"/>
                <a:gd name="T75" fmla="*/ 2220 h 2676"/>
                <a:gd name="T76" fmla="*/ 211 w 1772"/>
                <a:gd name="T77" fmla="*/ 2270 h 2676"/>
                <a:gd name="T78" fmla="*/ 366 w 1772"/>
                <a:gd name="T79" fmla="*/ 2264 h 2676"/>
                <a:gd name="T80" fmla="*/ 521 w 1772"/>
                <a:gd name="T81" fmla="*/ 2266 h 2676"/>
                <a:gd name="T82" fmla="*/ 675 w 1772"/>
                <a:gd name="T83" fmla="*/ 2275 h 2676"/>
                <a:gd name="T84" fmla="*/ 826 w 1772"/>
                <a:gd name="T85" fmla="*/ 229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2" h="2676">
                  <a:moveTo>
                    <a:pt x="926" y="2310"/>
                  </a:moveTo>
                  <a:lnTo>
                    <a:pt x="907" y="2224"/>
                  </a:lnTo>
                  <a:lnTo>
                    <a:pt x="886" y="2136"/>
                  </a:lnTo>
                  <a:lnTo>
                    <a:pt x="866" y="2048"/>
                  </a:lnTo>
                  <a:lnTo>
                    <a:pt x="846" y="1961"/>
                  </a:lnTo>
                  <a:lnTo>
                    <a:pt x="825" y="1872"/>
                  </a:lnTo>
                  <a:lnTo>
                    <a:pt x="803" y="1784"/>
                  </a:lnTo>
                  <a:lnTo>
                    <a:pt x="782" y="1696"/>
                  </a:lnTo>
                  <a:lnTo>
                    <a:pt x="760" y="1607"/>
                  </a:lnTo>
                  <a:lnTo>
                    <a:pt x="737" y="1519"/>
                  </a:lnTo>
                  <a:lnTo>
                    <a:pt x="716" y="1431"/>
                  </a:lnTo>
                  <a:lnTo>
                    <a:pt x="693" y="1344"/>
                  </a:lnTo>
                  <a:lnTo>
                    <a:pt x="670" y="1258"/>
                  </a:lnTo>
                  <a:lnTo>
                    <a:pt x="647" y="1172"/>
                  </a:lnTo>
                  <a:lnTo>
                    <a:pt x="623" y="1088"/>
                  </a:lnTo>
                  <a:lnTo>
                    <a:pt x="600" y="1005"/>
                  </a:lnTo>
                  <a:lnTo>
                    <a:pt x="576" y="923"/>
                  </a:lnTo>
                  <a:lnTo>
                    <a:pt x="580" y="932"/>
                  </a:lnTo>
                  <a:lnTo>
                    <a:pt x="595" y="957"/>
                  </a:lnTo>
                  <a:lnTo>
                    <a:pt x="617" y="997"/>
                  </a:lnTo>
                  <a:lnTo>
                    <a:pt x="648" y="1052"/>
                  </a:lnTo>
                  <a:lnTo>
                    <a:pt x="684" y="1120"/>
                  </a:lnTo>
                  <a:lnTo>
                    <a:pt x="727" y="1200"/>
                  </a:lnTo>
                  <a:lnTo>
                    <a:pt x="774" y="1291"/>
                  </a:lnTo>
                  <a:lnTo>
                    <a:pt x="826" y="1392"/>
                  </a:lnTo>
                  <a:lnTo>
                    <a:pt x="880" y="1501"/>
                  </a:lnTo>
                  <a:lnTo>
                    <a:pt x="939" y="1618"/>
                  </a:lnTo>
                  <a:lnTo>
                    <a:pt x="998" y="1741"/>
                  </a:lnTo>
                  <a:lnTo>
                    <a:pt x="1057" y="1870"/>
                  </a:lnTo>
                  <a:lnTo>
                    <a:pt x="1086" y="1936"/>
                  </a:lnTo>
                  <a:lnTo>
                    <a:pt x="1117" y="2004"/>
                  </a:lnTo>
                  <a:lnTo>
                    <a:pt x="1147" y="2071"/>
                  </a:lnTo>
                  <a:lnTo>
                    <a:pt x="1175" y="2140"/>
                  </a:lnTo>
                  <a:lnTo>
                    <a:pt x="1204" y="2209"/>
                  </a:lnTo>
                  <a:lnTo>
                    <a:pt x="1232" y="2278"/>
                  </a:lnTo>
                  <a:lnTo>
                    <a:pt x="1260" y="2348"/>
                  </a:lnTo>
                  <a:lnTo>
                    <a:pt x="1286" y="2418"/>
                  </a:lnTo>
                  <a:lnTo>
                    <a:pt x="1316" y="2430"/>
                  </a:lnTo>
                  <a:lnTo>
                    <a:pt x="1345" y="2442"/>
                  </a:lnTo>
                  <a:lnTo>
                    <a:pt x="1373" y="2455"/>
                  </a:lnTo>
                  <a:lnTo>
                    <a:pt x="1402" y="2470"/>
                  </a:lnTo>
                  <a:lnTo>
                    <a:pt x="1429" y="2483"/>
                  </a:lnTo>
                  <a:lnTo>
                    <a:pt x="1457" y="2498"/>
                  </a:lnTo>
                  <a:lnTo>
                    <a:pt x="1485" y="2514"/>
                  </a:lnTo>
                  <a:lnTo>
                    <a:pt x="1512" y="2530"/>
                  </a:lnTo>
                  <a:lnTo>
                    <a:pt x="1540" y="2546"/>
                  </a:lnTo>
                  <a:lnTo>
                    <a:pt x="1566" y="2563"/>
                  </a:lnTo>
                  <a:lnTo>
                    <a:pt x="1592" y="2580"/>
                  </a:lnTo>
                  <a:lnTo>
                    <a:pt x="1617" y="2598"/>
                  </a:lnTo>
                  <a:lnTo>
                    <a:pt x="1643" y="2617"/>
                  </a:lnTo>
                  <a:lnTo>
                    <a:pt x="1668" y="2636"/>
                  </a:lnTo>
                  <a:lnTo>
                    <a:pt x="1693" y="2656"/>
                  </a:lnTo>
                  <a:lnTo>
                    <a:pt x="1717" y="2676"/>
                  </a:lnTo>
                  <a:lnTo>
                    <a:pt x="1748" y="2560"/>
                  </a:lnTo>
                  <a:lnTo>
                    <a:pt x="1765" y="2445"/>
                  </a:lnTo>
                  <a:lnTo>
                    <a:pt x="1772" y="2328"/>
                  </a:lnTo>
                  <a:lnTo>
                    <a:pt x="1767" y="2211"/>
                  </a:lnTo>
                  <a:lnTo>
                    <a:pt x="1753" y="2093"/>
                  </a:lnTo>
                  <a:lnTo>
                    <a:pt x="1729" y="1976"/>
                  </a:lnTo>
                  <a:lnTo>
                    <a:pt x="1698" y="1859"/>
                  </a:lnTo>
                  <a:lnTo>
                    <a:pt x="1657" y="1742"/>
                  </a:lnTo>
                  <a:lnTo>
                    <a:pt x="1610" y="1627"/>
                  </a:lnTo>
                  <a:lnTo>
                    <a:pt x="1557" y="1514"/>
                  </a:lnTo>
                  <a:lnTo>
                    <a:pt x="1498" y="1402"/>
                  </a:lnTo>
                  <a:lnTo>
                    <a:pt x="1433" y="1293"/>
                  </a:lnTo>
                  <a:lnTo>
                    <a:pt x="1366" y="1186"/>
                  </a:lnTo>
                  <a:lnTo>
                    <a:pt x="1294" y="1080"/>
                  </a:lnTo>
                  <a:lnTo>
                    <a:pt x="1220" y="978"/>
                  </a:lnTo>
                  <a:lnTo>
                    <a:pt x="1144" y="880"/>
                  </a:lnTo>
                  <a:lnTo>
                    <a:pt x="1067" y="785"/>
                  </a:lnTo>
                  <a:lnTo>
                    <a:pt x="990" y="694"/>
                  </a:lnTo>
                  <a:lnTo>
                    <a:pt x="912" y="607"/>
                  </a:lnTo>
                  <a:lnTo>
                    <a:pt x="836" y="525"/>
                  </a:lnTo>
                  <a:lnTo>
                    <a:pt x="762" y="447"/>
                  </a:lnTo>
                  <a:lnTo>
                    <a:pt x="690" y="375"/>
                  </a:lnTo>
                  <a:lnTo>
                    <a:pt x="621" y="308"/>
                  </a:lnTo>
                  <a:lnTo>
                    <a:pt x="557" y="247"/>
                  </a:lnTo>
                  <a:lnTo>
                    <a:pt x="498" y="191"/>
                  </a:lnTo>
                  <a:lnTo>
                    <a:pt x="444" y="142"/>
                  </a:lnTo>
                  <a:lnTo>
                    <a:pt x="396" y="100"/>
                  </a:lnTo>
                  <a:lnTo>
                    <a:pt x="355" y="66"/>
                  </a:lnTo>
                  <a:lnTo>
                    <a:pt x="298" y="17"/>
                  </a:lnTo>
                  <a:lnTo>
                    <a:pt x="277" y="0"/>
                  </a:lnTo>
                  <a:lnTo>
                    <a:pt x="248" y="89"/>
                  </a:lnTo>
                  <a:lnTo>
                    <a:pt x="219" y="176"/>
                  </a:lnTo>
                  <a:lnTo>
                    <a:pt x="194" y="261"/>
                  </a:lnTo>
                  <a:lnTo>
                    <a:pt x="169" y="346"/>
                  </a:lnTo>
                  <a:lnTo>
                    <a:pt x="147" y="429"/>
                  </a:lnTo>
                  <a:lnTo>
                    <a:pt x="126" y="510"/>
                  </a:lnTo>
                  <a:lnTo>
                    <a:pt x="107" y="591"/>
                  </a:lnTo>
                  <a:lnTo>
                    <a:pt x="90" y="670"/>
                  </a:lnTo>
                  <a:lnTo>
                    <a:pt x="73" y="748"/>
                  </a:lnTo>
                  <a:lnTo>
                    <a:pt x="59" y="825"/>
                  </a:lnTo>
                  <a:lnTo>
                    <a:pt x="47" y="901"/>
                  </a:lnTo>
                  <a:lnTo>
                    <a:pt x="35" y="975"/>
                  </a:lnTo>
                  <a:lnTo>
                    <a:pt x="25" y="1050"/>
                  </a:lnTo>
                  <a:lnTo>
                    <a:pt x="17" y="1122"/>
                  </a:lnTo>
                  <a:lnTo>
                    <a:pt x="11" y="1194"/>
                  </a:lnTo>
                  <a:lnTo>
                    <a:pt x="6" y="1264"/>
                  </a:lnTo>
                  <a:lnTo>
                    <a:pt x="2" y="1333"/>
                  </a:lnTo>
                  <a:lnTo>
                    <a:pt x="0" y="1402"/>
                  </a:lnTo>
                  <a:lnTo>
                    <a:pt x="0" y="1469"/>
                  </a:lnTo>
                  <a:lnTo>
                    <a:pt x="0" y="1536"/>
                  </a:lnTo>
                  <a:lnTo>
                    <a:pt x="2" y="1603"/>
                  </a:lnTo>
                  <a:lnTo>
                    <a:pt x="5" y="1668"/>
                  </a:lnTo>
                  <a:lnTo>
                    <a:pt x="10" y="1731"/>
                  </a:lnTo>
                  <a:lnTo>
                    <a:pt x="16" y="1795"/>
                  </a:lnTo>
                  <a:lnTo>
                    <a:pt x="23" y="1858"/>
                  </a:lnTo>
                  <a:lnTo>
                    <a:pt x="31" y="1920"/>
                  </a:lnTo>
                  <a:lnTo>
                    <a:pt x="42" y="1981"/>
                  </a:lnTo>
                  <a:lnTo>
                    <a:pt x="52" y="2041"/>
                  </a:lnTo>
                  <a:lnTo>
                    <a:pt x="64" y="2101"/>
                  </a:lnTo>
                  <a:lnTo>
                    <a:pt x="77" y="2161"/>
                  </a:lnTo>
                  <a:lnTo>
                    <a:pt x="92" y="2220"/>
                  </a:lnTo>
                  <a:lnTo>
                    <a:pt x="108" y="2277"/>
                  </a:lnTo>
                  <a:lnTo>
                    <a:pt x="159" y="2273"/>
                  </a:lnTo>
                  <a:lnTo>
                    <a:pt x="211" y="2270"/>
                  </a:lnTo>
                  <a:lnTo>
                    <a:pt x="263" y="2268"/>
                  </a:lnTo>
                  <a:lnTo>
                    <a:pt x="315" y="2266"/>
                  </a:lnTo>
                  <a:lnTo>
                    <a:pt x="366" y="2264"/>
                  </a:lnTo>
                  <a:lnTo>
                    <a:pt x="418" y="2264"/>
                  </a:lnTo>
                  <a:lnTo>
                    <a:pt x="470" y="2264"/>
                  </a:lnTo>
                  <a:lnTo>
                    <a:pt x="521" y="2266"/>
                  </a:lnTo>
                  <a:lnTo>
                    <a:pt x="573" y="2268"/>
                  </a:lnTo>
                  <a:lnTo>
                    <a:pt x="624" y="2271"/>
                  </a:lnTo>
                  <a:lnTo>
                    <a:pt x="675" y="2275"/>
                  </a:lnTo>
                  <a:lnTo>
                    <a:pt x="726" y="2280"/>
                  </a:lnTo>
                  <a:lnTo>
                    <a:pt x="776" y="2286"/>
                  </a:lnTo>
                  <a:lnTo>
                    <a:pt x="826" y="2293"/>
                  </a:lnTo>
                  <a:lnTo>
                    <a:pt x="876" y="2300"/>
                  </a:lnTo>
                  <a:lnTo>
                    <a:pt x="926" y="2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ZA" sz="2205"/>
            </a:p>
          </p:txBody>
        </p:sp>
      </p:grpSp>
      <p:sp>
        <p:nvSpPr>
          <p:cNvPr id="14" name="TextBox 13">
            <a:extLst>
              <a:ext uri="{FF2B5EF4-FFF2-40B4-BE49-F238E27FC236}">
                <a16:creationId xmlns:a16="http://schemas.microsoft.com/office/drawing/2014/main" id="{E8CE8FBE-9EE0-E543-7446-69095E4AA3BB}"/>
              </a:ext>
            </a:extLst>
          </p:cNvPr>
          <p:cNvSpPr txBox="1"/>
          <p:nvPr/>
        </p:nvSpPr>
        <p:spPr>
          <a:xfrm>
            <a:off x="9452441" y="3024656"/>
            <a:ext cx="2072898" cy="1323439"/>
          </a:xfrm>
          <a:prstGeom prst="rect">
            <a:avLst/>
          </a:prstGeom>
          <a:noFill/>
        </p:spPr>
        <p:txBody>
          <a:bodyPr wrap="square" rtlCol="0">
            <a:spAutoFit/>
          </a:bodyPr>
          <a:lstStyle/>
          <a:p>
            <a:r>
              <a:rPr lang="en-AU" sz="8000"/>
              <a:t>80%</a:t>
            </a:r>
          </a:p>
        </p:txBody>
      </p:sp>
      <p:sp>
        <p:nvSpPr>
          <p:cNvPr id="15" name="TextBox 14">
            <a:extLst>
              <a:ext uri="{FF2B5EF4-FFF2-40B4-BE49-F238E27FC236}">
                <a16:creationId xmlns:a16="http://schemas.microsoft.com/office/drawing/2014/main" id="{F120572C-798F-1FA4-C4B8-EB6E83B05725}"/>
              </a:ext>
            </a:extLst>
          </p:cNvPr>
          <p:cNvSpPr txBox="1"/>
          <p:nvPr/>
        </p:nvSpPr>
        <p:spPr>
          <a:xfrm>
            <a:off x="9409968" y="4048945"/>
            <a:ext cx="2072898" cy="646331"/>
          </a:xfrm>
          <a:prstGeom prst="rect">
            <a:avLst/>
          </a:prstGeom>
          <a:noFill/>
        </p:spPr>
        <p:txBody>
          <a:bodyPr wrap="square" rtlCol="0">
            <a:spAutoFit/>
          </a:bodyPr>
          <a:lstStyle/>
          <a:p>
            <a:pPr algn="ctr"/>
            <a:r>
              <a:rPr lang="en-AU"/>
              <a:t>Renewable energy generation by 2030</a:t>
            </a:r>
          </a:p>
        </p:txBody>
      </p:sp>
      <p:sp>
        <p:nvSpPr>
          <p:cNvPr id="16" name="TextBox 15">
            <a:extLst>
              <a:ext uri="{FF2B5EF4-FFF2-40B4-BE49-F238E27FC236}">
                <a16:creationId xmlns:a16="http://schemas.microsoft.com/office/drawing/2014/main" id="{0C93A478-12A3-290A-79AD-B504C57FA36B}"/>
              </a:ext>
            </a:extLst>
          </p:cNvPr>
          <p:cNvSpPr txBox="1"/>
          <p:nvPr/>
        </p:nvSpPr>
        <p:spPr>
          <a:xfrm>
            <a:off x="9335760" y="2913578"/>
            <a:ext cx="2072898" cy="369332"/>
          </a:xfrm>
          <a:prstGeom prst="rect">
            <a:avLst/>
          </a:prstGeom>
          <a:noFill/>
        </p:spPr>
        <p:txBody>
          <a:bodyPr wrap="square" rtlCol="0">
            <a:spAutoFit/>
          </a:bodyPr>
          <a:lstStyle/>
          <a:p>
            <a:pPr algn="ctr"/>
            <a:r>
              <a:rPr lang="en-AU"/>
              <a:t>US TARGET</a:t>
            </a:r>
          </a:p>
        </p:txBody>
      </p:sp>
      <p:sp>
        <p:nvSpPr>
          <p:cNvPr id="17" name="Rectangle 16">
            <a:extLst>
              <a:ext uri="{FF2B5EF4-FFF2-40B4-BE49-F238E27FC236}">
                <a16:creationId xmlns:a16="http://schemas.microsoft.com/office/drawing/2014/main" id="{003CE1E2-1693-D2B7-0BF7-B6E24A0F6EA9}"/>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spTree>
    <p:extLst>
      <p:ext uri="{BB962C8B-B14F-4D97-AF65-F5344CB8AC3E}">
        <p14:creationId xmlns:p14="http://schemas.microsoft.com/office/powerpoint/2010/main" val="52152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1332B4-4F1F-BC05-819B-2D0523437B6B}"/>
              </a:ext>
            </a:extLst>
          </p:cNvPr>
          <p:cNvPicPr>
            <a:picLocks noChangeAspect="1"/>
          </p:cNvPicPr>
          <p:nvPr/>
        </p:nvPicPr>
        <p:blipFill rotWithShape="1">
          <a:blip r:embed="rId2"/>
          <a:srcRect b="48063"/>
          <a:stretch/>
        </p:blipFill>
        <p:spPr>
          <a:xfrm>
            <a:off x="932818" y="458484"/>
            <a:ext cx="5316366" cy="3099073"/>
          </a:xfrm>
          <a:prstGeom prst="rect">
            <a:avLst/>
          </a:prstGeom>
        </p:spPr>
      </p:pic>
      <p:sp>
        <p:nvSpPr>
          <p:cNvPr id="2" name="Rectangle 1">
            <a:extLst>
              <a:ext uri="{FF2B5EF4-FFF2-40B4-BE49-F238E27FC236}">
                <a16:creationId xmlns:a16="http://schemas.microsoft.com/office/drawing/2014/main" id="{C77D49B7-8D9C-985E-9EF5-CC77BC3FE00B}"/>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PB</a:t>
            </a:r>
          </a:p>
        </p:txBody>
      </p:sp>
      <p:pic>
        <p:nvPicPr>
          <p:cNvPr id="4" name="Picture 3">
            <a:extLst>
              <a:ext uri="{FF2B5EF4-FFF2-40B4-BE49-F238E27FC236}">
                <a16:creationId xmlns:a16="http://schemas.microsoft.com/office/drawing/2014/main" id="{59B9ED6B-4ABA-4A92-6608-808F261B376B}"/>
              </a:ext>
            </a:extLst>
          </p:cNvPr>
          <p:cNvPicPr>
            <a:picLocks noChangeAspect="1"/>
          </p:cNvPicPr>
          <p:nvPr/>
        </p:nvPicPr>
        <p:blipFill rotWithShape="1">
          <a:blip r:embed="rId3"/>
          <a:srcRect b="46567"/>
          <a:stretch/>
        </p:blipFill>
        <p:spPr>
          <a:xfrm>
            <a:off x="936576" y="3694545"/>
            <a:ext cx="5350225" cy="3078388"/>
          </a:xfrm>
          <a:prstGeom prst="rect">
            <a:avLst/>
          </a:prstGeom>
        </p:spPr>
      </p:pic>
      <p:pic>
        <p:nvPicPr>
          <p:cNvPr id="6" name="Picture 5" descr="A black background with white text&#10;&#10;Description automatically generated">
            <a:extLst>
              <a:ext uri="{FF2B5EF4-FFF2-40B4-BE49-F238E27FC236}">
                <a16:creationId xmlns:a16="http://schemas.microsoft.com/office/drawing/2014/main" id="{D7310F03-374E-515A-2BDF-F88A4B4F50D0}"/>
              </a:ext>
            </a:extLst>
          </p:cNvPr>
          <p:cNvPicPr>
            <a:picLocks noChangeAspect="1"/>
          </p:cNvPicPr>
          <p:nvPr/>
        </p:nvPicPr>
        <p:blipFill>
          <a:blip r:embed="rId4"/>
          <a:stretch>
            <a:fillRect/>
          </a:stretch>
        </p:blipFill>
        <p:spPr>
          <a:xfrm>
            <a:off x="7329948" y="1389967"/>
            <a:ext cx="4451554" cy="4581970"/>
          </a:xfrm>
          <a:prstGeom prst="rect">
            <a:avLst/>
          </a:prstGeom>
        </p:spPr>
      </p:pic>
    </p:spTree>
    <p:extLst>
      <p:ext uri="{BB962C8B-B14F-4D97-AF65-F5344CB8AC3E}">
        <p14:creationId xmlns:p14="http://schemas.microsoft.com/office/powerpoint/2010/main" val="7344235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11382-3FB8-73E1-9B53-7B58EEE2EC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5"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25911382-3FB8-73E1-9B53-7B58EEE2E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B57D8F3-220C-771F-0C3D-FA903D1E5FB1}"/>
              </a:ext>
            </a:extLst>
          </p:cNvPr>
          <p:cNvSpPr txBox="1"/>
          <p:nvPr/>
        </p:nvSpPr>
        <p:spPr>
          <a:xfrm>
            <a:off x="1273994" y="3202969"/>
            <a:ext cx="3688424" cy="584775"/>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Recommendation</a:t>
            </a:r>
          </a:p>
        </p:txBody>
      </p:sp>
    </p:spTree>
    <p:extLst>
      <p:ext uri="{BB962C8B-B14F-4D97-AF65-F5344CB8AC3E}">
        <p14:creationId xmlns:p14="http://schemas.microsoft.com/office/powerpoint/2010/main" val="372961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Recommendations</a:t>
            </a:r>
            <a:endParaRPr lang="en-AU" sz="2400">
              <a:solidFill>
                <a:schemeClr val="accent1"/>
              </a:solidFill>
              <a:latin typeface="Segoe UI Light" panose="020B0502040204020203" pitchFamily="34" charset="0"/>
              <a:cs typeface="Segoe UI Light" panose="020B0502040204020203" pitchFamily="34" charset="0"/>
            </a:endParaRP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661220" y="3094081"/>
            <a:ext cx="10814286" cy="1916919"/>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600">
                <a:latin typeface="Segoe UI Light"/>
                <a:cs typeface="Segoe UI Light"/>
              </a:rPr>
              <a:t>Recommend approaching Brady Wind to invest in</a:t>
            </a:r>
          </a:p>
          <a:p>
            <a:pPr marL="0" indent="0">
              <a:buNone/>
            </a:pPr>
            <a:endParaRPr lang="en-AU" sz="1400">
              <a:latin typeface="Segoe UI Light"/>
              <a:cs typeface="Segoe UI Light"/>
            </a:endParaRPr>
          </a:p>
          <a:p>
            <a:pPr marL="285750" indent="-285750">
              <a:lnSpc>
                <a:spcPct val="100000"/>
              </a:lnSpc>
            </a:pPr>
            <a:r>
              <a:rPr lang="en-AU" sz="1400">
                <a:latin typeface="Segoe UI Light"/>
                <a:cs typeface="Segoe UI Light"/>
              </a:rPr>
              <a:t>He owns over 45% of the plants in the country, and 32% of the total capacity.</a:t>
            </a:r>
          </a:p>
          <a:p>
            <a:pPr marL="285750" indent="-285750">
              <a:lnSpc>
                <a:spcPct val="100000"/>
              </a:lnSpc>
            </a:pPr>
            <a:r>
              <a:rPr lang="en-AU" sz="1400">
                <a:latin typeface="Segoe UI Light"/>
                <a:cs typeface="Segoe UI Light"/>
              </a:rPr>
              <a:t>Also largest net energy generator by a large margin, and more energy generated translates to a larger return.</a:t>
            </a:r>
          </a:p>
          <a:p>
            <a:pPr marL="285750" indent="-285750">
              <a:lnSpc>
                <a:spcPct val="100000"/>
              </a:lnSpc>
            </a:pPr>
            <a:r>
              <a:rPr lang="en-AU" sz="1400">
                <a:latin typeface="Segoe UI Light"/>
                <a:cs typeface="Segoe UI Light"/>
              </a:rPr>
              <a:t>Good average plant efficiency, of over 7000 MWh per turbine</a:t>
            </a:r>
          </a:p>
          <a:p>
            <a:pPr marL="285750" indent="-285750">
              <a:lnSpc>
                <a:spcPct val="100000"/>
              </a:lnSpc>
            </a:pPr>
            <a:r>
              <a:rPr lang="en-AU" sz="1400">
                <a:latin typeface="Segoe UI Light"/>
                <a:cs typeface="Segoe UI Light"/>
              </a:rPr>
              <a:t>Moderate-high plant efficiency to turbine ratio</a:t>
            </a:r>
          </a:p>
          <a:p>
            <a:pPr marL="285750" indent="-285750"/>
            <a:endParaRPr lang="en-AU" sz="1400">
              <a:latin typeface="Segoe UI Light"/>
              <a:cs typeface="Segoe UI Light"/>
            </a:endParaRPr>
          </a:p>
          <a:p>
            <a:pPr marL="0" indent="0">
              <a:buNone/>
            </a:pPr>
            <a:r>
              <a:rPr lang="en-AU" sz="1600">
                <a:latin typeface="Segoe UI Light"/>
                <a:cs typeface="Segoe UI Light"/>
              </a:rPr>
              <a:t>Other small plants to acquire: </a:t>
            </a:r>
          </a:p>
          <a:p>
            <a:pPr marL="0" indent="0">
              <a:buNone/>
            </a:pPr>
            <a:r>
              <a:rPr lang="en-AU" sz="1400">
                <a:solidFill>
                  <a:srgbClr val="000000"/>
                </a:solidFill>
                <a:latin typeface="Segoe UI Light"/>
                <a:ea typeface="+mn-lt"/>
                <a:cs typeface="Segoe UI Light"/>
              </a:rPr>
              <a:t>WED </a:t>
            </a:r>
            <a:r>
              <a:rPr lang="en-AU" sz="1400" err="1">
                <a:solidFill>
                  <a:srgbClr val="000000"/>
                </a:solidFill>
                <a:latin typeface="Segoe UI Light"/>
                <a:ea typeface="+mn-lt"/>
                <a:cs typeface="Segoe UI Light"/>
              </a:rPr>
              <a:t>Conventry</a:t>
            </a:r>
            <a:r>
              <a:rPr lang="en-AU" sz="1400">
                <a:latin typeface="Segoe UI Light"/>
                <a:cs typeface="Segoe UI Light"/>
              </a:rPr>
              <a:t> 5 ($701k in revenue per turbine) and GE Lubbock ($220k in revenue per turbine). </a:t>
            </a:r>
            <a:endParaRPr lang="en-AU"/>
          </a:p>
        </p:txBody>
      </p:sp>
      <p:sp>
        <p:nvSpPr>
          <p:cNvPr id="2" name="TextBox 1">
            <a:extLst>
              <a:ext uri="{FF2B5EF4-FFF2-40B4-BE49-F238E27FC236}">
                <a16:creationId xmlns:a16="http://schemas.microsoft.com/office/drawing/2014/main" id="{18D39382-C967-A7EB-50E1-AA9CD0569124}"/>
              </a:ext>
            </a:extLst>
          </p:cNvPr>
          <p:cNvSpPr txBox="1"/>
          <p:nvPr/>
        </p:nvSpPr>
        <p:spPr>
          <a:xfrm>
            <a:off x="576146" y="1170877"/>
            <a:ext cx="11049000"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latin typeface="Segoe UI Light"/>
                <a:cs typeface="Calibri"/>
              </a:rPr>
              <a:t>Recommend approaching Duke Energy to invest in</a:t>
            </a:r>
          </a:p>
          <a:p>
            <a:endParaRPr lang="en-US" sz="1400">
              <a:latin typeface="Segoe UI Light"/>
              <a:cs typeface="Calibri"/>
            </a:endParaRPr>
          </a:p>
          <a:p>
            <a:pPr marL="285750" indent="-285750">
              <a:buFont typeface="Arial"/>
              <a:buChar char="•"/>
            </a:pPr>
            <a:r>
              <a:rPr lang="en-US" sz="1400">
                <a:latin typeface="Segoe UI Light"/>
                <a:cs typeface="Calibri"/>
              </a:rPr>
              <a:t>Operate in 25 states, 107 counties</a:t>
            </a:r>
          </a:p>
          <a:p>
            <a:pPr marL="285750" indent="-285750">
              <a:buFont typeface="Arial"/>
              <a:buChar char="•"/>
            </a:pPr>
            <a:r>
              <a:rPr lang="en-US" sz="1400">
                <a:latin typeface="Segoe UI Light"/>
                <a:cs typeface="Calibri"/>
              </a:rPr>
              <a:t>2nd largest operator in term of size owns over 18% of the plants in the country</a:t>
            </a:r>
          </a:p>
          <a:p>
            <a:pPr marL="285750" indent="-285750">
              <a:buFont typeface="Arial"/>
              <a:buChar char="•"/>
            </a:pPr>
            <a:r>
              <a:rPr lang="en-US" sz="1400">
                <a:latin typeface="Segoe UI Light"/>
                <a:cs typeface="Calibri"/>
              </a:rPr>
              <a:t>One of the top ten leading operators by net generation per turbine</a:t>
            </a:r>
          </a:p>
          <a:p>
            <a:pPr marL="285750" indent="-285750">
              <a:buFont typeface="Arial"/>
              <a:buChar char="•"/>
            </a:pPr>
            <a:r>
              <a:rPr lang="en-US" sz="1400">
                <a:latin typeface="Segoe UI Light"/>
                <a:cs typeface="Calibri"/>
              </a:rPr>
              <a:t>Operating different fuel-type plants</a:t>
            </a:r>
          </a:p>
          <a:p>
            <a:pPr marL="285750" indent="-285750">
              <a:buFont typeface="Arial"/>
              <a:buChar char="•"/>
            </a:pPr>
            <a:r>
              <a:rPr lang="en-US" sz="1400">
                <a:latin typeface="Segoe UI Light"/>
                <a:cs typeface="Calibri"/>
              </a:rPr>
              <a:t>Very high average plant </a:t>
            </a:r>
            <a:r>
              <a:rPr lang="en-US" sz="1400">
                <a:latin typeface="Segoe UI Light"/>
                <a:ea typeface="+mn-lt"/>
                <a:cs typeface="+mn-lt"/>
              </a:rPr>
              <a:t>efficiency</a:t>
            </a:r>
            <a:r>
              <a:rPr lang="en-US" sz="1400">
                <a:latin typeface="Segoe UI Light"/>
                <a:cs typeface="Calibri"/>
              </a:rPr>
              <a:t> to turbine ratio</a:t>
            </a:r>
          </a:p>
        </p:txBody>
      </p:sp>
      <p:sp>
        <p:nvSpPr>
          <p:cNvPr id="3" name="Rectangle 2">
            <a:extLst>
              <a:ext uri="{FF2B5EF4-FFF2-40B4-BE49-F238E27FC236}">
                <a16:creationId xmlns:a16="http://schemas.microsoft.com/office/drawing/2014/main" id="{E78830AF-6DF1-5B7F-BA64-CA59970CB230}"/>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N</a:t>
            </a:r>
          </a:p>
        </p:txBody>
      </p:sp>
    </p:spTree>
    <p:extLst>
      <p:ext uri="{BB962C8B-B14F-4D97-AF65-F5344CB8AC3E}">
        <p14:creationId xmlns:p14="http://schemas.microsoft.com/office/powerpoint/2010/main" val="1970204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Reflection </a:t>
            </a:r>
            <a:endParaRPr lang="en-AU" sz="2400">
              <a:solidFill>
                <a:schemeClr val="accent1"/>
              </a:solidFill>
              <a:latin typeface="Segoe UI Light" panose="020B0502040204020203" pitchFamily="34" charset="0"/>
              <a:cs typeface="Segoe UI Light" panose="020B0502040204020203" pitchFamily="34" charset="0"/>
            </a:endParaRPr>
          </a:p>
        </p:txBody>
      </p:sp>
      <p:sp>
        <p:nvSpPr>
          <p:cNvPr id="2" name="TextBox 1">
            <a:extLst>
              <a:ext uri="{FF2B5EF4-FFF2-40B4-BE49-F238E27FC236}">
                <a16:creationId xmlns:a16="http://schemas.microsoft.com/office/drawing/2014/main" id="{57CE61F8-CC43-D7EB-F4F3-057B58DC502F}"/>
              </a:ext>
            </a:extLst>
          </p:cNvPr>
          <p:cNvSpPr txBox="1"/>
          <p:nvPr/>
        </p:nvSpPr>
        <p:spPr>
          <a:xfrm>
            <a:off x="526682" y="1232277"/>
            <a:ext cx="5048350" cy="3970318"/>
          </a:xfrm>
          <a:prstGeom prst="rect">
            <a:avLst/>
          </a:prstGeom>
          <a:noFill/>
        </p:spPr>
        <p:txBody>
          <a:bodyPr wrap="square" lIns="91440" tIns="45720" rIns="91440" bIns="45720" rtlCol="0" anchor="t">
            <a:spAutoFit/>
          </a:bodyPr>
          <a:lstStyle/>
          <a:p>
            <a:r>
              <a:rPr lang="en-AU" sz="1200" b="1" u="sng">
                <a:latin typeface="Segoe UI Light"/>
                <a:cs typeface="Segoe UI Light"/>
              </a:rPr>
              <a:t>Lessons learned</a:t>
            </a:r>
            <a:r>
              <a:rPr lang="en-AU" sz="1200">
                <a:latin typeface="Segoe UI Light"/>
                <a:cs typeface="Segoe UI Light"/>
              </a:rPr>
              <a:t>:</a:t>
            </a:r>
          </a:p>
          <a:p>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AU" sz="1200">
                <a:latin typeface="Segoe UI Light"/>
                <a:cs typeface="Segoe UI Light"/>
              </a:rPr>
              <a:t>Everyone has different working styles – sometimes completely different to yours so you have to navigate/compromise </a:t>
            </a: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AU" sz="1200">
                <a:latin typeface="Segoe UI Light"/>
                <a:cs typeface="Segoe UI Light"/>
              </a:rPr>
              <a:t>Really important that all members are familiar with the data before moving ahead</a:t>
            </a: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AU" sz="1200">
                <a:latin typeface="Segoe UI Light"/>
                <a:cs typeface="Segoe UI Light"/>
              </a:rPr>
              <a:t>Triple check schedule – we ran out of time at the end for probably the most crucial point</a:t>
            </a: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r>
              <a:rPr lang="en-AU" sz="1200" b="1" u="sng">
                <a:latin typeface="Segoe UI Light"/>
                <a:cs typeface="Segoe UI Light"/>
              </a:rPr>
              <a:t>Lessons we are still learning</a:t>
            </a:r>
            <a:r>
              <a:rPr lang="en-AU" sz="1200">
                <a:latin typeface="Segoe UI Light"/>
                <a:cs typeface="Segoe UI Light"/>
              </a:rPr>
              <a:t>:</a:t>
            </a:r>
          </a:p>
          <a:p>
            <a:pPr marL="171450" indent="-171450">
              <a:buFont typeface="Arial" panose="020B0604020202020204" pitchFamily="34" charset="0"/>
              <a:buChar char="•"/>
            </a:pPr>
            <a:r>
              <a:rPr lang="en-AU" sz="1200">
                <a:latin typeface="Segoe UI Light"/>
                <a:cs typeface="Segoe UI Light"/>
              </a:rPr>
              <a:t>Analyse with intent – how do things fit into the bigger picture and the story we are trying to tell. </a:t>
            </a: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endParaRPr lang="en-AU" sz="1200">
              <a:latin typeface="Segoe UI Light"/>
              <a:cs typeface="Segoe UI Light"/>
            </a:endParaRPr>
          </a:p>
          <a:p>
            <a:pPr marL="171450" indent="-171450">
              <a:buFont typeface="Arial" panose="020B0604020202020204" pitchFamily="34" charset="0"/>
              <a:buChar char="•"/>
            </a:pPr>
            <a:r>
              <a:rPr lang="en-AU" sz="1200">
                <a:latin typeface="Segoe UI Light"/>
                <a:cs typeface="Segoe UI Light"/>
              </a:rPr>
              <a:t>Not to get too hung up on details. A better high level overview is more beneficial than a more detailed one that is unfocused.</a:t>
            </a: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AU" sz="1200">
                <a:latin typeface="Segoe UI Light"/>
                <a:cs typeface="Segoe UI Light"/>
              </a:rPr>
              <a:t>Getting everyone onto the same page and aligned in our goals</a:t>
            </a:r>
            <a:endParaRPr lang="en-AU" sz="1200">
              <a:latin typeface="Segoe UI Light" panose="020B0502040204020203" pitchFamily="34" charset="0"/>
              <a:cs typeface="Segoe UI Light" panose="020B0502040204020203" pitchFamily="34" charset="0"/>
            </a:endParaRPr>
          </a:p>
          <a:p>
            <a:endParaRPr lang="en-AU" sz="1200">
              <a:latin typeface="Segoe UI Light" panose="020B0502040204020203" pitchFamily="34" charset="0"/>
              <a:cs typeface="Segoe UI Light" panose="020B0502040204020203" pitchFamily="34" charset="0"/>
            </a:endParaRPr>
          </a:p>
        </p:txBody>
      </p:sp>
      <p:pic>
        <p:nvPicPr>
          <p:cNvPr id="3" name="Picture 2" descr="A yellow emoji with a finger on it&#10;&#10;Description automatically generated">
            <a:extLst>
              <a:ext uri="{FF2B5EF4-FFF2-40B4-BE49-F238E27FC236}">
                <a16:creationId xmlns:a16="http://schemas.microsoft.com/office/drawing/2014/main" id="{776790E6-8E0B-BB8F-8EEA-3BA00F9F71B0}"/>
              </a:ext>
            </a:extLst>
          </p:cNvPr>
          <p:cNvPicPr>
            <a:picLocks noChangeAspect="1"/>
          </p:cNvPicPr>
          <p:nvPr/>
        </p:nvPicPr>
        <p:blipFill>
          <a:blip r:embed="rId6"/>
          <a:stretch>
            <a:fillRect/>
          </a:stretch>
        </p:blipFill>
        <p:spPr>
          <a:xfrm>
            <a:off x="7252009" y="1499840"/>
            <a:ext cx="3626004" cy="3626004"/>
          </a:xfrm>
          <a:prstGeom prst="rect">
            <a:avLst/>
          </a:prstGeom>
        </p:spPr>
      </p:pic>
    </p:spTree>
    <p:extLst>
      <p:ext uri="{BB962C8B-B14F-4D97-AF65-F5344CB8AC3E}">
        <p14:creationId xmlns:p14="http://schemas.microsoft.com/office/powerpoint/2010/main" val="580382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14049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Background Information – current global state</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COP27 and other reforms </a:t>
            </a:r>
          </a:p>
        </p:txBody>
      </p:sp>
      <p:sp>
        <p:nvSpPr>
          <p:cNvPr id="8" name="Title 1">
            <a:extLst>
              <a:ext uri="{FF2B5EF4-FFF2-40B4-BE49-F238E27FC236}">
                <a16:creationId xmlns:a16="http://schemas.microsoft.com/office/drawing/2014/main" id="{B3D315AE-2CD9-F309-9D34-98556B57A120}"/>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US Wind Turbine Market | focus and objective </a:t>
            </a:r>
            <a:endParaRPr lang="en-AU" sz="2400">
              <a:solidFill>
                <a:schemeClr val="accent1"/>
              </a:solidFill>
              <a:latin typeface="Segoe UI Light" panose="020B0502040204020203" pitchFamily="34" charset="0"/>
              <a:cs typeface="Segoe UI Light" panose="020B0502040204020203" pitchFamily="34" charset="0"/>
            </a:endParaRPr>
          </a:p>
        </p:txBody>
      </p:sp>
      <p:sp>
        <p:nvSpPr>
          <p:cNvPr id="9" name="Text Placeholder 2">
            <a:extLst>
              <a:ext uri="{FF2B5EF4-FFF2-40B4-BE49-F238E27FC236}">
                <a16:creationId xmlns:a16="http://schemas.microsoft.com/office/drawing/2014/main" id="{F352212B-7FF4-D4CE-019D-19432232B582}"/>
              </a:ext>
            </a:extLst>
          </p:cNvPr>
          <p:cNvSpPr txBox="1">
            <a:spLocks/>
          </p:cNvSpPr>
          <p:nvPr/>
        </p:nvSpPr>
        <p:spPr>
          <a:xfrm>
            <a:off x="614757" y="1077569"/>
            <a:ext cx="10897920" cy="45796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400">
                <a:latin typeface="Segoe UI Light" panose="020B0502040204020203" pitchFamily="34" charset="0"/>
                <a:cs typeface="Segoe UI Light" panose="020B0502040204020203" pitchFamily="34" charset="0"/>
              </a:rPr>
              <a:t>50% of campaigns crowdfunded through Kickstarter were successful. On average, $8,628 was pledged per successful campaigns.  </a:t>
            </a:r>
          </a:p>
        </p:txBody>
      </p:sp>
    </p:spTree>
    <p:extLst>
      <p:ext uri="{BB962C8B-B14F-4D97-AF65-F5344CB8AC3E}">
        <p14:creationId xmlns:p14="http://schemas.microsoft.com/office/powerpoint/2010/main" val="1490681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332835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Background Information – US current state </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COP27 other reforms </a:t>
            </a:r>
          </a:p>
          <a:p>
            <a:r>
              <a:rPr lang="en-AU"/>
              <a:t>National renewable energy targets </a:t>
            </a:r>
          </a:p>
          <a:p>
            <a:r>
              <a:rPr lang="en-AU"/>
              <a:t>Energy by source (insert viz) </a:t>
            </a:r>
          </a:p>
          <a:p>
            <a:r>
              <a:rPr lang="en-AU"/>
              <a:t>Energy by renewable energy source (insert viz)</a:t>
            </a:r>
          </a:p>
          <a:p>
            <a:r>
              <a:rPr lang="en-AU"/>
              <a:t>Viz – current state of the US market</a:t>
            </a:r>
          </a:p>
          <a:p>
            <a:r>
              <a:rPr lang="en-AU"/>
              <a:t>Viz – evolution of the US wind turbine market over time (2017 – 2021)</a:t>
            </a:r>
          </a:p>
          <a:p>
            <a:pPr marL="0" indent="0">
              <a:buNone/>
            </a:pPr>
            <a:r>
              <a:rPr lang="en-AU"/>
              <a:t> </a:t>
            </a:r>
          </a:p>
          <a:p>
            <a:endParaRPr lang="en-AU"/>
          </a:p>
        </p:txBody>
      </p:sp>
    </p:spTree>
    <p:extLst>
      <p:ext uri="{BB962C8B-B14F-4D97-AF65-F5344CB8AC3E}">
        <p14:creationId xmlns:p14="http://schemas.microsoft.com/office/powerpoint/2010/main" val="16124837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252222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Snapshot </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Number of wind turbines </a:t>
            </a:r>
          </a:p>
          <a:p>
            <a:r>
              <a:rPr lang="en-AU"/>
              <a:t>Top N operators </a:t>
            </a:r>
          </a:p>
          <a:p>
            <a:r>
              <a:rPr lang="en-AU"/>
              <a:t>Top N manufacturers(?)</a:t>
            </a:r>
          </a:p>
          <a:p>
            <a:r>
              <a:rPr lang="en-AU"/>
              <a:t>Total capacity </a:t>
            </a:r>
          </a:p>
          <a:p>
            <a:r>
              <a:rPr lang="en-AU"/>
              <a:t>Net Generation </a:t>
            </a:r>
          </a:p>
          <a:p>
            <a:r>
              <a:rPr lang="en-AU"/>
              <a:t>No. of plants (27 states) </a:t>
            </a:r>
          </a:p>
          <a:p>
            <a:r>
              <a:rPr lang="en-AU"/>
              <a:t>Revenue, Cost, Profitability of the market</a:t>
            </a:r>
          </a:p>
          <a:p>
            <a:endParaRPr lang="en-AU"/>
          </a:p>
          <a:p>
            <a:endParaRPr lang="en-AU"/>
          </a:p>
          <a:p>
            <a:pPr marL="0" indent="0">
              <a:buNone/>
            </a:pPr>
            <a:endParaRPr lang="en-AU"/>
          </a:p>
        </p:txBody>
      </p:sp>
    </p:spTree>
    <p:extLst>
      <p:ext uri="{BB962C8B-B14F-4D97-AF65-F5344CB8AC3E}">
        <p14:creationId xmlns:p14="http://schemas.microsoft.com/office/powerpoint/2010/main" val="1856231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911382-3FB8-73E1-9B53-7B58EEE2ECA0}"/>
              </a:ext>
            </a:extLst>
          </p:cNvPr>
          <p:cNvGraphicFramePr>
            <a:graphicFrameLocks noChangeAspect="1"/>
          </p:cNvGraphicFramePr>
          <p:nvPr>
            <p:custDataLst>
              <p:tags r:id="rId2"/>
            </p:custDataLst>
            <p:extLst>
              <p:ext uri="{D42A27DB-BD31-4B8C-83A1-F6EECF244321}">
                <p14:modId xmlns:p14="http://schemas.microsoft.com/office/powerpoint/2010/main" val="10358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25911382-3FB8-73E1-9B53-7B58EEE2EC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B57D8F3-220C-771F-0C3D-FA903D1E5FB1}"/>
              </a:ext>
            </a:extLst>
          </p:cNvPr>
          <p:cNvSpPr txBox="1"/>
          <p:nvPr/>
        </p:nvSpPr>
        <p:spPr>
          <a:xfrm>
            <a:off x="1273994" y="3202969"/>
            <a:ext cx="3369925" cy="1077218"/>
          </a:xfrm>
          <a:prstGeom prst="rect">
            <a:avLst/>
          </a:prstGeom>
          <a:noFill/>
        </p:spPr>
        <p:txBody>
          <a:bodyPr wrap="square" rtlCol="0">
            <a:spAutoFit/>
          </a:bodyPr>
          <a:lstStyle/>
          <a:p>
            <a:r>
              <a:rPr lang="en-AU" sz="3200">
                <a:latin typeface="Segoe UI Semibold" panose="020B0702040204020203" pitchFamily="34" charset="0"/>
                <a:cs typeface="Segoe UI Semibold" panose="020B0702040204020203" pitchFamily="34" charset="0"/>
              </a:rPr>
              <a:t>Wind Turbine Market</a:t>
            </a:r>
          </a:p>
        </p:txBody>
      </p:sp>
    </p:spTree>
    <p:extLst>
      <p:ext uri="{BB962C8B-B14F-4D97-AF65-F5344CB8AC3E}">
        <p14:creationId xmlns:p14="http://schemas.microsoft.com/office/powerpoint/2010/main" val="20750454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41FCE-0C67-B8D5-8DA0-2063BF875014}"/>
              </a:ext>
            </a:extLst>
          </p:cNvPr>
          <p:cNvSpPr>
            <a:spLocks noGrp="1"/>
          </p:cNvSpPr>
          <p:nvPr>
            <p:ph type="ctrTitle"/>
          </p:nvPr>
        </p:nvSpPr>
        <p:spPr>
          <a:xfrm>
            <a:off x="624669" y="271435"/>
            <a:ext cx="7583160" cy="590714"/>
          </a:xfrm>
        </p:spPr>
        <p:txBody>
          <a:bodyPr vert="horz" lIns="91440" tIns="45720" rIns="91440" bIns="45720" rtlCol="0" anchor="b">
            <a:normAutofit/>
          </a:bodyPr>
          <a:lstStyle/>
          <a:p>
            <a:pPr algn="l"/>
            <a:r>
              <a:rPr lang="en-US" sz="3600" b="1" kern="1200" spc="-50" baseline="0">
                <a:solidFill>
                  <a:schemeClr val="tx1"/>
                </a:solidFill>
                <a:latin typeface="+mj-lt"/>
                <a:ea typeface="+mj-ea"/>
                <a:cs typeface="+mj-cs"/>
              </a:rPr>
              <a:t>Wind Energy Industry Trends</a:t>
            </a:r>
          </a:p>
        </p:txBody>
      </p:sp>
      <p:sp>
        <p:nvSpPr>
          <p:cNvPr id="3" name="Subtitle 2">
            <a:extLst>
              <a:ext uri="{FF2B5EF4-FFF2-40B4-BE49-F238E27FC236}">
                <a16:creationId xmlns:a16="http://schemas.microsoft.com/office/drawing/2014/main" id="{C5A9D1E7-7BC3-96F7-04A3-A29600E2FF87}"/>
              </a:ext>
            </a:extLst>
          </p:cNvPr>
          <p:cNvSpPr>
            <a:spLocks noGrp="1"/>
          </p:cNvSpPr>
          <p:nvPr>
            <p:ph type="subTitle" idx="1"/>
          </p:nvPr>
        </p:nvSpPr>
        <p:spPr>
          <a:xfrm>
            <a:off x="656986" y="4398885"/>
            <a:ext cx="10194174" cy="2258659"/>
          </a:xfrm>
        </p:spPr>
        <p:txBody>
          <a:bodyPr vert="horz" lIns="91440" tIns="45720" rIns="91440" bIns="45720" rtlCol="0">
            <a:normAutofit/>
          </a:bodyPr>
          <a:lstStyle/>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A 2015 study by the U.S. Department of Energy found wind could provide 20% of U.S. electricity by 2030 and 35% by 2050.</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In 2021, 9.2% of U.S. electricity was generated from wind energy.</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Average annual wind speeds of 6.5m/s or greater at 80m are considered commercially viable.</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High wind speeds yield more power  Wind speeds are slower close to the Earth’s surface and faster at higher altitudes.</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The average hub height of modern wind turbines is 90 meters.</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More than 60,000 turbines are installed in the U.S., with cumulative capacity of 134.2 GW.</a:t>
            </a:r>
          </a:p>
          <a:p>
            <a:pPr marL="285750" indent="-285750" algn="l">
              <a:lnSpc>
                <a:spcPct val="110000"/>
              </a:lnSpc>
              <a:buFont typeface="Arial" panose="020B0604020202020204" pitchFamily="34" charset="0"/>
              <a:buChar char="•"/>
            </a:pPr>
            <a:r>
              <a:rPr lang="en-GB" sz="1100" b="0" i="0">
                <a:effectLst/>
                <a:latin typeface="Calibri" panose="020F0502020204030204" pitchFamily="34" charset="0"/>
                <a:ea typeface="Calibri" panose="020F0502020204030204" pitchFamily="34" charset="0"/>
                <a:cs typeface="Calibri" panose="020F0502020204030204" pitchFamily="34" charset="0"/>
              </a:rPr>
              <a:t>Texas (35,049 MW), Iowa (12,006 MW) are the leading states in total installed wind capacity.</a:t>
            </a:r>
          </a:p>
          <a:p>
            <a:pPr indent="-228600" algn="l">
              <a:lnSpc>
                <a:spcPct val="110000"/>
              </a:lnSpc>
              <a:buFont typeface="Arial" panose="020B0604020202020204" pitchFamily="34" charset="0"/>
              <a:buChar char="•"/>
            </a:pPr>
            <a:endParaRPr lang="en-US" sz="500">
              <a:latin typeface="Calibri" panose="020F0502020204030204" pitchFamily="34" charset="0"/>
              <a:ea typeface="Calibri" panose="020F0502020204030204" pitchFamily="34" charset="0"/>
              <a:cs typeface="Calibri" panose="020F0502020204030204" pitchFamily="34" charset="0"/>
            </a:endParaRPr>
          </a:p>
        </p:txBody>
      </p:sp>
      <p:pic>
        <p:nvPicPr>
          <p:cNvPr id="15" name="Picture 3" descr="Windmills in black and white background">
            <a:extLst>
              <a:ext uri="{FF2B5EF4-FFF2-40B4-BE49-F238E27FC236}">
                <a16:creationId xmlns:a16="http://schemas.microsoft.com/office/drawing/2014/main" id="{239740BB-5C4D-2658-5DFC-4D83798D5E80}"/>
              </a:ext>
            </a:extLst>
          </p:cNvPr>
          <p:cNvPicPr>
            <a:picLocks noChangeAspect="1"/>
          </p:cNvPicPr>
          <p:nvPr/>
        </p:nvPicPr>
        <p:blipFill rotWithShape="1">
          <a:blip r:embed="rId2"/>
          <a:srcRect l="15758" r="23241" b="-2"/>
          <a:stretch/>
        </p:blipFill>
        <p:spPr>
          <a:xfrm>
            <a:off x="8368937" y="794406"/>
            <a:ext cx="3013766" cy="3013766"/>
          </a:xfrm>
          <a:custGeom>
            <a:avLst/>
            <a:gdLst/>
            <a:ahLst/>
            <a:cxnLst/>
            <a:rect l="l" t="t" r="r" b="b"/>
            <a:pathLst>
              <a:path w="5244168" h="5244168">
                <a:moveTo>
                  <a:pt x="2622084" y="0"/>
                </a:moveTo>
                <a:cubicBezTo>
                  <a:pt x="4070221" y="0"/>
                  <a:pt x="5244168" y="1173947"/>
                  <a:pt x="5244168" y="2622084"/>
                </a:cubicBezTo>
                <a:cubicBezTo>
                  <a:pt x="5244168" y="4070221"/>
                  <a:pt x="4070221" y="5244168"/>
                  <a:pt x="2622084" y="5244168"/>
                </a:cubicBezTo>
                <a:cubicBezTo>
                  <a:pt x="1173947" y="5244168"/>
                  <a:pt x="0" y="4070221"/>
                  <a:pt x="0" y="2622084"/>
                </a:cubicBezTo>
                <a:cubicBezTo>
                  <a:pt x="0" y="1173947"/>
                  <a:pt x="1173947" y="0"/>
                  <a:pt x="2622084" y="0"/>
                </a:cubicBezTo>
                <a:close/>
              </a:path>
            </a:pathLst>
          </a:custGeom>
        </p:spPr>
      </p:pic>
      <p:pic>
        <p:nvPicPr>
          <p:cNvPr id="6" name="Picture 5">
            <a:extLst>
              <a:ext uri="{FF2B5EF4-FFF2-40B4-BE49-F238E27FC236}">
                <a16:creationId xmlns:a16="http://schemas.microsoft.com/office/drawing/2014/main" id="{BD64E6C5-29AA-640A-F2E6-1FD6C0F3C8EE}"/>
              </a:ext>
            </a:extLst>
          </p:cNvPr>
          <p:cNvPicPr>
            <a:picLocks noChangeAspect="1"/>
          </p:cNvPicPr>
          <p:nvPr/>
        </p:nvPicPr>
        <p:blipFill>
          <a:blip r:embed="rId3"/>
          <a:stretch>
            <a:fillRect/>
          </a:stretch>
        </p:blipFill>
        <p:spPr>
          <a:xfrm>
            <a:off x="985706" y="862149"/>
            <a:ext cx="5528345" cy="3432444"/>
          </a:xfrm>
          <a:prstGeom prst="rect">
            <a:avLst/>
          </a:prstGeom>
        </p:spPr>
      </p:pic>
    </p:spTree>
    <p:extLst>
      <p:ext uri="{BB962C8B-B14F-4D97-AF65-F5344CB8AC3E}">
        <p14:creationId xmlns:p14="http://schemas.microsoft.com/office/powerpoint/2010/main" val="2237058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13705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Analysis – operators </a:t>
            </a:r>
            <a:r>
              <a:rPr lang="en-AU">
                <a:solidFill>
                  <a:srgbClr val="FF0000"/>
                </a:solidFill>
              </a:rPr>
              <a:t>(to clarify: operators only in the wind energy market or diversity) </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Number of wind turbines (split by Onshore vs. Offshore Wind Turbines – WT And WS)</a:t>
            </a:r>
          </a:p>
          <a:p>
            <a:r>
              <a:rPr lang="en-AU"/>
              <a:t>Operator’s market (key operators, snapshot figures, total net generation by operator)</a:t>
            </a:r>
          </a:p>
          <a:p>
            <a:r>
              <a:rPr lang="en-AU"/>
              <a:t>Geographical presence by operators (Top N)  </a:t>
            </a:r>
          </a:p>
          <a:p>
            <a:pPr marL="0" indent="0">
              <a:buNone/>
            </a:pPr>
            <a:endParaRPr lang="en-AU"/>
          </a:p>
          <a:p>
            <a:r>
              <a:rPr lang="en-AU"/>
              <a:t>Revenue/Profitability by operators </a:t>
            </a:r>
          </a:p>
          <a:p>
            <a:endParaRPr lang="en-AU"/>
          </a:p>
          <a:p>
            <a:endParaRPr lang="en-AU"/>
          </a:p>
          <a:p>
            <a:pPr marL="0" indent="0">
              <a:buNone/>
            </a:pPr>
            <a:endParaRPr lang="en-AU"/>
          </a:p>
        </p:txBody>
      </p:sp>
    </p:spTree>
    <p:extLst>
      <p:ext uri="{BB962C8B-B14F-4D97-AF65-F5344CB8AC3E}">
        <p14:creationId xmlns:p14="http://schemas.microsoft.com/office/powerpoint/2010/main" val="42374388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210459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Analysis – Attributes of wind turbines</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Dimension of turbines</a:t>
            </a:r>
          </a:p>
          <a:p>
            <a:r>
              <a:rPr lang="en-AU"/>
              <a:t>Manufacturers of turbine (total capacity by manufacturer) </a:t>
            </a:r>
          </a:p>
          <a:p>
            <a:r>
              <a:rPr lang="en-AU"/>
              <a:t>Capacity of turbines by x</a:t>
            </a:r>
          </a:p>
          <a:p>
            <a:r>
              <a:rPr lang="en-AU"/>
              <a:t>Maintenance – retrofit (more retrofit = bad = poorer quality) – defining what quality means </a:t>
            </a:r>
          </a:p>
          <a:p>
            <a:r>
              <a:rPr lang="en-AU"/>
              <a:t>Net generation of turbines </a:t>
            </a:r>
          </a:p>
          <a:p>
            <a:endParaRPr lang="en-AU"/>
          </a:p>
          <a:p>
            <a:endParaRPr lang="en-AU"/>
          </a:p>
          <a:p>
            <a:pPr marL="0" indent="0">
              <a:buNone/>
            </a:pPr>
            <a:endParaRPr lang="en-AU"/>
          </a:p>
        </p:txBody>
      </p:sp>
    </p:spTree>
    <p:extLst>
      <p:ext uri="{BB962C8B-B14F-4D97-AF65-F5344CB8AC3E}">
        <p14:creationId xmlns:p14="http://schemas.microsoft.com/office/powerpoint/2010/main" val="7512365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156375-DD29-A3AD-0620-5E663596961B}"/>
              </a:ext>
            </a:extLst>
          </p:cNvPr>
          <p:cNvGraphicFramePr>
            <a:graphicFrameLocks noChangeAspect="1"/>
          </p:cNvGraphicFramePr>
          <p:nvPr>
            <p:custDataLst>
              <p:tags r:id="rId2"/>
            </p:custDataLst>
            <p:extLst>
              <p:ext uri="{D42A27DB-BD31-4B8C-83A1-F6EECF244321}">
                <p14:modId xmlns:p14="http://schemas.microsoft.com/office/powerpoint/2010/main" val="351419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4" imgW="592" imgH="591" progId="TCLayout.ActiveDocument.1">
                  <p:embed/>
                </p:oleObj>
              </mc:Choice>
              <mc:Fallback>
                <p:oleObj name="think-cell Slide" r:id="rId4" imgW="592" imgH="591" progId="TCLayout.ActiveDocument.1">
                  <p:embed/>
                  <p:pic>
                    <p:nvPicPr>
                      <p:cNvPr id="6" name="think-cell data - do not delete" hidden="1">
                        <a:extLst>
                          <a:ext uri="{FF2B5EF4-FFF2-40B4-BE49-F238E27FC236}">
                            <a16:creationId xmlns:a16="http://schemas.microsoft.com/office/drawing/2014/main" id="{FC156375-DD29-A3AD-0620-5E6635969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B01BF-02D1-CDA6-C6C2-31CB8AC4D89F}"/>
              </a:ext>
            </a:extLst>
          </p:cNvPr>
          <p:cNvSpPr>
            <a:spLocks noGrp="1"/>
          </p:cNvSpPr>
          <p:nvPr>
            <p:ph type="title"/>
          </p:nvPr>
        </p:nvSpPr>
        <p:spPr/>
        <p:txBody>
          <a:bodyPr vert="horz"/>
          <a:lstStyle/>
          <a:p>
            <a:r>
              <a:rPr lang="en-AU"/>
              <a:t>Recommendation</a:t>
            </a:r>
          </a:p>
        </p:txBody>
      </p:sp>
      <p:sp>
        <p:nvSpPr>
          <p:cNvPr id="3" name="Content Placeholder 2">
            <a:extLst>
              <a:ext uri="{FF2B5EF4-FFF2-40B4-BE49-F238E27FC236}">
                <a16:creationId xmlns:a16="http://schemas.microsoft.com/office/drawing/2014/main" id="{DFD421EC-8DA7-D30E-8943-05C4B368D716}"/>
              </a:ext>
            </a:extLst>
          </p:cNvPr>
          <p:cNvSpPr>
            <a:spLocks noGrp="1"/>
          </p:cNvSpPr>
          <p:nvPr>
            <p:ph idx="1"/>
          </p:nvPr>
        </p:nvSpPr>
        <p:spPr/>
        <p:txBody>
          <a:bodyPr>
            <a:normAutofit/>
          </a:bodyPr>
          <a:lstStyle/>
          <a:p>
            <a:r>
              <a:rPr lang="en-AU" sz="1600"/>
              <a:t>Which operator?  </a:t>
            </a:r>
          </a:p>
          <a:p>
            <a:pPr marL="0" indent="0">
              <a:buNone/>
            </a:pPr>
            <a:r>
              <a:rPr lang="en-AU" sz="1600"/>
              <a:t>	- Top 3/5? </a:t>
            </a:r>
          </a:p>
          <a:p>
            <a:r>
              <a:rPr lang="en-AU" sz="1600"/>
              <a:t>Reasons for recommendation </a:t>
            </a:r>
          </a:p>
          <a:p>
            <a:pPr marL="0" indent="0">
              <a:buNone/>
            </a:pPr>
            <a:r>
              <a:rPr lang="en-AU" sz="1600"/>
              <a:t>	- At least 3 metrics (revenue per unit, cost per unit, profitability, net generation, capacity: no. turbine ratio, net operation per turbine, low cost per unit of electricity generation, type of turbines)</a:t>
            </a:r>
          </a:p>
          <a:p>
            <a:r>
              <a:rPr lang="en-AU" sz="1600"/>
              <a:t>Geographical location of plants by operator? </a:t>
            </a:r>
          </a:p>
          <a:p>
            <a:r>
              <a:rPr lang="en-AU" sz="1600"/>
              <a:t>Is the operator involved in the market for other energy source? Diversity or specialisation? </a:t>
            </a:r>
          </a:p>
          <a:p>
            <a:endParaRPr lang="en-AU" sz="1600"/>
          </a:p>
          <a:p>
            <a:pPr marL="0" indent="0">
              <a:buNone/>
            </a:pPr>
            <a:endParaRPr lang="en-AU" sz="1600"/>
          </a:p>
          <a:p>
            <a:pPr marL="0" indent="0">
              <a:buNone/>
            </a:pPr>
            <a:r>
              <a:rPr lang="en-AU" sz="1600"/>
              <a:t> </a:t>
            </a:r>
          </a:p>
        </p:txBody>
      </p:sp>
    </p:spTree>
    <p:extLst>
      <p:ext uri="{BB962C8B-B14F-4D97-AF65-F5344CB8AC3E}">
        <p14:creationId xmlns:p14="http://schemas.microsoft.com/office/powerpoint/2010/main" val="23433504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FFA62B-8410-FE95-0CC2-25B1825F08EF}"/>
              </a:ext>
            </a:extLst>
          </p:cNvPr>
          <p:cNvGraphicFramePr>
            <a:graphicFrameLocks noChangeAspect="1"/>
          </p:cNvGraphicFramePr>
          <p:nvPr>
            <p:custDataLst>
              <p:tags r:id="rId2"/>
            </p:custDataLst>
            <p:extLst>
              <p:ext uri="{D42A27DB-BD31-4B8C-83A1-F6EECF244321}">
                <p14:modId xmlns:p14="http://schemas.microsoft.com/office/powerpoint/2010/main" val="312768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7BFFA62B-8410-FE95-0CC2-25B1825F0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71B5C3-BBD7-2A92-3CF7-D71979F6AA70}"/>
              </a:ext>
            </a:extLst>
          </p:cNvPr>
          <p:cNvSpPr>
            <a:spLocks noGrp="1"/>
          </p:cNvSpPr>
          <p:nvPr>
            <p:ph type="title"/>
          </p:nvPr>
        </p:nvSpPr>
        <p:spPr/>
        <p:txBody>
          <a:bodyPr vert="horz"/>
          <a:lstStyle/>
          <a:p>
            <a:r>
              <a:rPr lang="en-AU"/>
              <a:t>Funding </a:t>
            </a:r>
            <a:r>
              <a:rPr lang="en-AU">
                <a:solidFill>
                  <a:srgbClr val="FF0000"/>
                </a:solidFill>
              </a:rPr>
              <a:t>* to clarify (consider in the recommendation) </a:t>
            </a:r>
          </a:p>
        </p:txBody>
      </p:sp>
      <p:sp>
        <p:nvSpPr>
          <p:cNvPr id="3" name="Content Placeholder 2">
            <a:extLst>
              <a:ext uri="{FF2B5EF4-FFF2-40B4-BE49-F238E27FC236}">
                <a16:creationId xmlns:a16="http://schemas.microsoft.com/office/drawing/2014/main" id="{19202440-BBCC-D71C-7826-E0FF70E75D29}"/>
              </a:ext>
            </a:extLst>
          </p:cNvPr>
          <p:cNvSpPr>
            <a:spLocks noGrp="1"/>
          </p:cNvSpPr>
          <p:nvPr>
            <p:ph idx="1"/>
          </p:nvPr>
        </p:nvSpPr>
        <p:spPr/>
        <p:txBody>
          <a:bodyPr/>
          <a:lstStyle/>
          <a:p>
            <a:r>
              <a:rPr lang="en-AU"/>
              <a:t>Potential companies to approach to fund (which financier) </a:t>
            </a:r>
          </a:p>
          <a:p>
            <a:r>
              <a:rPr lang="en-AU"/>
              <a:t>Depends on our metrics and recommendation </a:t>
            </a:r>
          </a:p>
          <a:p>
            <a:r>
              <a:rPr lang="en-AU"/>
              <a:t>Financier that specialises in [x] particular space?</a:t>
            </a:r>
          </a:p>
          <a:p>
            <a:r>
              <a:rPr lang="en-AU"/>
              <a:t>Debt covenants alignment with financier? </a:t>
            </a:r>
            <a:r>
              <a:rPr lang="en-AU" err="1"/>
              <a:t>E.g</a:t>
            </a:r>
            <a:r>
              <a:rPr lang="en-AU"/>
              <a:t> High energy output for low number of turbines, low cost per unit of electricity generation</a:t>
            </a:r>
          </a:p>
        </p:txBody>
      </p:sp>
    </p:spTree>
    <p:extLst>
      <p:ext uri="{BB962C8B-B14F-4D97-AF65-F5344CB8AC3E}">
        <p14:creationId xmlns:p14="http://schemas.microsoft.com/office/powerpoint/2010/main" val="34311251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extLst>
              <p:ext uri="{D42A27DB-BD31-4B8C-83A1-F6EECF244321}">
                <p14:modId xmlns:p14="http://schemas.microsoft.com/office/powerpoint/2010/main" val="828651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Content Placeholder 1" descr="A screenshot of a map&#10;&#10;Description automatically generated">
            <a:extLst>
              <a:ext uri="{FF2B5EF4-FFF2-40B4-BE49-F238E27FC236}">
                <a16:creationId xmlns:a16="http://schemas.microsoft.com/office/drawing/2014/main" id="{4A655DEA-92F9-E526-CA62-0A06CF612EB3}"/>
              </a:ext>
            </a:extLst>
          </p:cNvPr>
          <p:cNvPicPr>
            <a:picLocks noGrp="1" noChangeAspect="1"/>
          </p:cNvPicPr>
          <p:nvPr>
            <p:ph idx="1"/>
          </p:nvPr>
        </p:nvPicPr>
        <p:blipFill>
          <a:blip r:embed="rId6"/>
          <a:stretch>
            <a:fillRect/>
          </a:stretch>
        </p:blipFill>
        <p:spPr>
          <a:xfrm>
            <a:off x="3906580" y="431722"/>
            <a:ext cx="7333913" cy="5866045"/>
          </a:xfrm>
        </p:spPr>
      </p:pic>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3062869" cy="50519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7] Plant to population breakdown</a:t>
            </a:r>
          </a:p>
          <a:p>
            <a:r>
              <a:rPr lang="en-AU">
                <a:cs typeface="Calibri Light" panose="020F0302020204030204"/>
              </a:rPr>
              <a:t>(2021 census population)</a:t>
            </a:r>
          </a:p>
        </p:txBody>
      </p:sp>
    </p:spTree>
    <p:extLst>
      <p:ext uri="{BB962C8B-B14F-4D97-AF65-F5344CB8AC3E}">
        <p14:creationId xmlns:p14="http://schemas.microsoft.com/office/powerpoint/2010/main" val="17802672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B144E-0582-81F9-7406-FB312B691B5F}"/>
              </a:ext>
            </a:extLst>
          </p:cNvPr>
          <p:cNvSpPr>
            <a:spLocks noGrp="1"/>
          </p:cNvSpPr>
          <p:nvPr>
            <p:ph type="title"/>
          </p:nvPr>
        </p:nvSpPr>
        <p:spPr/>
        <p:txBody>
          <a:bodyPr/>
          <a:lstStyle/>
          <a:p>
            <a:r>
              <a:rPr lang="en-US">
                <a:cs typeface="Calibri Light"/>
              </a:rPr>
              <a:t>County to capacity Comparison</a:t>
            </a:r>
            <a:endParaRPr lang="en-US"/>
          </a:p>
        </p:txBody>
      </p:sp>
      <p:pic>
        <p:nvPicPr>
          <p:cNvPr id="4" name="Content Placeholder 3" descr="A map of the united states&#10;&#10;Description automatically generated">
            <a:extLst>
              <a:ext uri="{FF2B5EF4-FFF2-40B4-BE49-F238E27FC236}">
                <a16:creationId xmlns:a16="http://schemas.microsoft.com/office/drawing/2014/main" id="{625115D2-95D7-6070-354B-4E88B37E43B1}"/>
              </a:ext>
            </a:extLst>
          </p:cNvPr>
          <p:cNvPicPr>
            <a:picLocks noGrp="1" noChangeAspect="1"/>
          </p:cNvPicPr>
          <p:nvPr>
            <p:ph idx="1"/>
          </p:nvPr>
        </p:nvPicPr>
        <p:blipFill>
          <a:blip r:embed="rId2"/>
          <a:stretch>
            <a:fillRect/>
          </a:stretch>
        </p:blipFill>
        <p:spPr>
          <a:xfrm>
            <a:off x="2605489" y="1693923"/>
            <a:ext cx="7291464" cy="4925188"/>
          </a:xfrm>
        </p:spPr>
      </p:pic>
    </p:spTree>
    <p:extLst>
      <p:ext uri="{BB962C8B-B14F-4D97-AF65-F5344CB8AC3E}">
        <p14:creationId xmlns:p14="http://schemas.microsoft.com/office/powerpoint/2010/main" val="15120830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B17BB-6910-457E-2A02-0A1BE6FF101F}"/>
              </a:ext>
            </a:extLst>
          </p:cNvPr>
          <p:cNvSpPr>
            <a:spLocks noGrp="1"/>
          </p:cNvSpPr>
          <p:nvPr>
            <p:ph type="title"/>
          </p:nvPr>
        </p:nvSpPr>
        <p:spPr>
          <a:xfrm>
            <a:off x="838200" y="365125"/>
            <a:ext cx="3638786" cy="4364154"/>
          </a:xfrm>
        </p:spPr>
        <p:txBody>
          <a:bodyPr/>
          <a:lstStyle/>
          <a:p>
            <a:r>
              <a:rPr lang="en-US">
                <a:cs typeface="Calibri Light"/>
              </a:rPr>
              <a:t>Desirable plants to invest into</a:t>
            </a:r>
            <a:br>
              <a:rPr lang="en-US">
                <a:cs typeface="Calibri Light"/>
              </a:rPr>
            </a:br>
            <a:endParaRPr lang="en-US">
              <a:cs typeface="Calibri Light"/>
            </a:endParaRPr>
          </a:p>
        </p:txBody>
      </p:sp>
      <p:pic>
        <p:nvPicPr>
          <p:cNvPr id="10" name="Content Placeholder 9">
            <a:extLst>
              <a:ext uri="{FF2B5EF4-FFF2-40B4-BE49-F238E27FC236}">
                <a16:creationId xmlns:a16="http://schemas.microsoft.com/office/drawing/2014/main" id="{2FEF0D21-E8B9-0C0A-6A15-962B8857F9D5}"/>
              </a:ext>
            </a:extLst>
          </p:cNvPr>
          <p:cNvPicPr>
            <a:picLocks noGrp="1" noChangeAspect="1"/>
          </p:cNvPicPr>
          <p:nvPr>
            <p:ph idx="1"/>
          </p:nvPr>
        </p:nvPicPr>
        <p:blipFill>
          <a:blip r:embed="rId2"/>
          <a:stretch>
            <a:fillRect/>
          </a:stretch>
        </p:blipFill>
        <p:spPr>
          <a:xfrm>
            <a:off x="4430527" y="169922"/>
            <a:ext cx="7611317" cy="6091708"/>
          </a:xfrm>
        </p:spPr>
      </p:pic>
    </p:spTree>
    <p:extLst>
      <p:ext uri="{BB962C8B-B14F-4D97-AF65-F5344CB8AC3E}">
        <p14:creationId xmlns:p14="http://schemas.microsoft.com/office/powerpoint/2010/main" val="3453461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13. Location and output power – current state (total capacity by state in 2021) </a:t>
            </a:r>
          </a:p>
        </p:txBody>
      </p:sp>
      <p:pic>
        <p:nvPicPr>
          <p:cNvPr id="11" name="Picture 10">
            <a:extLst>
              <a:ext uri="{FF2B5EF4-FFF2-40B4-BE49-F238E27FC236}">
                <a16:creationId xmlns:a16="http://schemas.microsoft.com/office/drawing/2014/main" id="{7063CDC8-C394-B458-9303-8485E74E843B}"/>
              </a:ext>
            </a:extLst>
          </p:cNvPr>
          <p:cNvPicPr>
            <a:picLocks noChangeAspect="1"/>
          </p:cNvPicPr>
          <p:nvPr/>
        </p:nvPicPr>
        <p:blipFill>
          <a:blip r:embed="rId6"/>
          <a:stretch>
            <a:fillRect/>
          </a:stretch>
        </p:blipFill>
        <p:spPr>
          <a:xfrm>
            <a:off x="934948" y="1825625"/>
            <a:ext cx="6167701" cy="4866604"/>
          </a:xfrm>
          <a:prstGeom prst="rect">
            <a:avLst/>
          </a:prstGeom>
        </p:spPr>
      </p:pic>
    </p:spTree>
    <p:extLst>
      <p:ext uri="{BB962C8B-B14F-4D97-AF65-F5344CB8AC3E}">
        <p14:creationId xmlns:p14="http://schemas.microsoft.com/office/powerpoint/2010/main" val="39978633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13. Location and output – how total output has evolved from 2017 – 2021</a:t>
            </a:r>
          </a:p>
        </p:txBody>
      </p:sp>
      <p:pic>
        <p:nvPicPr>
          <p:cNvPr id="9" name="Picture 8">
            <a:extLst>
              <a:ext uri="{FF2B5EF4-FFF2-40B4-BE49-F238E27FC236}">
                <a16:creationId xmlns:a16="http://schemas.microsoft.com/office/drawing/2014/main" id="{E4F92AA4-0376-3323-F7BA-8DEBE966A496}"/>
              </a:ext>
            </a:extLst>
          </p:cNvPr>
          <p:cNvPicPr>
            <a:picLocks noChangeAspect="1"/>
          </p:cNvPicPr>
          <p:nvPr/>
        </p:nvPicPr>
        <p:blipFill>
          <a:blip r:embed="rId6"/>
          <a:stretch>
            <a:fillRect/>
          </a:stretch>
        </p:blipFill>
        <p:spPr>
          <a:xfrm>
            <a:off x="990521" y="1825625"/>
            <a:ext cx="6285648" cy="5032375"/>
          </a:xfrm>
          <a:prstGeom prst="rect">
            <a:avLst/>
          </a:prstGeom>
        </p:spPr>
      </p:pic>
    </p:spTree>
    <p:extLst>
      <p:ext uri="{BB962C8B-B14F-4D97-AF65-F5344CB8AC3E}">
        <p14:creationId xmlns:p14="http://schemas.microsoft.com/office/powerpoint/2010/main" val="3038295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3781723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34" imgW="592" imgH="591" progId="TCLayout.ActiveDocument.1">
                  <p:embed/>
                </p:oleObj>
              </mc:Choice>
              <mc:Fallback>
                <p:oleObj name="think-cell Slide" r:id="rId3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08" name="Rounded Rectangle 61">
            <a:extLst>
              <a:ext uri="{FF2B5EF4-FFF2-40B4-BE49-F238E27FC236}">
                <a16:creationId xmlns:a16="http://schemas.microsoft.com/office/drawing/2014/main" id="{ABF0FE9D-09AF-32EC-4D4A-FF851F625270}"/>
              </a:ext>
            </a:extLst>
          </p:cNvPr>
          <p:cNvSpPr/>
          <p:nvPr/>
        </p:nvSpPr>
        <p:spPr bwMode="gray">
          <a:xfrm>
            <a:off x="6630889"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Top Wind Producing Companies in 2021 | By Installed Wind Capacity (GW)</a:t>
            </a:r>
          </a:p>
        </p:txBody>
      </p:sp>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Wind Turbine Market | </a:t>
            </a:r>
            <a:r>
              <a:rPr lang="en-AU" sz="2400">
                <a:solidFill>
                  <a:schemeClr val="accent1"/>
                </a:solidFill>
                <a:latin typeface="Segoe UI Light" panose="020B0502040204020203" pitchFamily="34" charset="0"/>
                <a:cs typeface="Segoe UI Light" panose="020B0502040204020203" pitchFamily="34" charset="0"/>
              </a:rPr>
              <a:t>Global Market</a:t>
            </a:r>
          </a:p>
        </p:txBody>
      </p:sp>
      <p:sp>
        <p:nvSpPr>
          <p:cNvPr id="16" name="Freeform 584">
            <a:extLst>
              <a:ext uri="{FF2B5EF4-FFF2-40B4-BE49-F238E27FC236}">
                <a16:creationId xmlns:a16="http://schemas.microsoft.com/office/drawing/2014/main" id="{2FF2D8B4-DA3D-E235-A241-0BA0FFB3882F}"/>
              </a:ext>
            </a:extLst>
          </p:cNvPr>
          <p:cNvSpPr>
            <a:spLocks noChangeAspect="1" noEditPoints="1"/>
          </p:cNvSpPr>
          <p:nvPr/>
        </p:nvSpPr>
        <p:spPr bwMode="auto">
          <a:xfrm>
            <a:off x="6480076" y="1619659"/>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cxnSp>
        <p:nvCxnSpPr>
          <p:cNvPr id="182" name="Straight Connector 181">
            <a:extLst>
              <a:ext uri="{FF2B5EF4-FFF2-40B4-BE49-F238E27FC236}">
                <a16:creationId xmlns:a16="http://schemas.microsoft.com/office/drawing/2014/main" id="{C99902B9-0FA3-B68C-5B6F-2EF72C4B19E3}"/>
              </a:ext>
            </a:extLst>
          </p:cNvPr>
          <p:cNvCxnSpPr/>
          <p:nvPr>
            <p:custDataLst>
              <p:tags r:id="rId3"/>
            </p:custDataLst>
          </p:nvPr>
        </p:nvCxnSpPr>
        <p:spPr bwMode="gray">
          <a:xfrm>
            <a:off x="7377113" y="5788025"/>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ABCBEDE8-3DAE-F0D1-0536-3C04171F416B}"/>
              </a:ext>
            </a:extLst>
          </p:cNvPr>
          <p:cNvCxnSpPr/>
          <p:nvPr>
            <p:custDataLst>
              <p:tags r:id="rId4"/>
            </p:custDataLst>
          </p:nvPr>
        </p:nvCxnSpPr>
        <p:spPr bwMode="gray">
          <a:xfrm>
            <a:off x="7377113" y="5343525"/>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8DAFAC4F-3EB3-9F0A-4A9C-84F583EBFCB8}"/>
              </a:ext>
            </a:extLst>
          </p:cNvPr>
          <p:cNvCxnSpPr/>
          <p:nvPr>
            <p:custDataLst>
              <p:tags r:id="rId5"/>
            </p:custDataLst>
          </p:nvPr>
        </p:nvCxnSpPr>
        <p:spPr bwMode="gray">
          <a:xfrm>
            <a:off x="7377113" y="4897438"/>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0218EC8E-0026-245D-50D0-282EDFF5C4EF}"/>
              </a:ext>
            </a:extLst>
          </p:cNvPr>
          <p:cNvCxnSpPr/>
          <p:nvPr>
            <p:custDataLst>
              <p:tags r:id="rId6"/>
            </p:custDataLst>
          </p:nvPr>
        </p:nvCxnSpPr>
        <p:spPr bwMode="gray">
          <a:xfrm>
            <a:off x="7377113" y="4452938"/>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01BA8F64-F7B2-2CE3-3519-B456AA33B361}"/>
              </a:ext>
            </a:extLst>
          </p:cNvPr>
          <p:cNvCxnSpPr/>
          <p:nvPr>
            <p:custDataLst>
              <p:tags r:id="rId7"/>
            </p:custDataLst>
          </p:nvPr>
        </p:nvCxnSpPr>
        <p:spPr bwMode="gray">
          <a:xfrm>
            <a:off x="7377113" y="4008438"/>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55A74CDA-9ECD-6055-2CA4-BC8BB40187CC}"/>
              </a:ext>
            </a:extLst>
          </p:cNvPr>
          <p:cNvCxnSpPr/>
          <p:nvPr>
            <p:custDataLst>
              <p:tags r:id="rId8"/>
            </p:custDataLst>
          </p:nvPr>
        </p:nvCxnSpPr>
        <p:spPr bwMode="gray">
          <a:xfrm>
            <a:off x="7377113" y="3563938"/>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6EDCA7C2-484A-A394-C20E-9A1BB10D7FC4}"/>
              </a:ext>
            </a:extLst>
          </p:cNvPr>
          <p:cNvCxnSpPr/>
          <p:nvPr>
            <p:custDataLst>
              <p:tags r:id="rId9"/>
            </p:custDataLst>
          </p:nvPr>
        </p:nvCxnSpPr>
        <p:spPr bwMode="gray">
          <a:xfrm>
            <a:off x="7377113" y="3117850"/>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F4538D00-4BD8-6433-C4C2-5FE70C55745A}"/>
              </a:ext>
            </a:extLst>
          </p:cNvPr>
          <p:cNvCxnSpPr/>
          <p:nvPr>
            <p:custDataLst>
              <p:tags r:id="rId10"/>
            </p:custDataLst>
          </p:nvPr>
        </p:nvCxnSpPr>
        <p:spPr bwMode="gray">
          <a:xfrm>
            <a:off x="7377113" y="2673350"/>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31C3C65B-D6B9-16F6-ED82-CD057076DD08}"/>
              </a:ext>
            </a:extLst>
          </p:cNvPr>
          <p:cNvCxnSpPr/>
          <p:nvPr>
            <p:custDataLst>
              <p:tags r:id="rId11"/>
            </p:custDataLst>
          </p:nvPr>
        </p:nvCxnSpPr>
        <p:spPr bwMode="gray">
          <a:xfrm>
            <a:off x="7377113" y="2228850"/>
            <a:ext cx="4135438" cy="0"/>
          </a:xfrm>
          <a:prstGeom prst="line">
            <a:avLst/>
          </a:prstGeom>
          <a:ln w="3175" cap="flat" cmpd="sng" algn="ctr">
            <a:solidFill>
              <a:srgbClr val="BBBCB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5" name="Chart 304">
            <a:extLst>
              <a:ext uri="{FF2B5EF4-FFF2-40B4-BE49-F238E27FC236}">
                <a16:creationId xmlns:a16="http://schemas.microsoft.com/office/drawing/2014/main" id="{11B0D806-AACA-4744-9A7D-9BA810E128DD}"/>
              </a:ext>
            </a:extLst>
          </p:cNvPr>
          <p:cNvGraphicFramePr/>
          <p:nvPr>
            <p:custDataLst>
              <p:tags r:id="rId12"/>
            </p:custDataLst>
            <p:extLst>
              <p:ext uri="{D42A27DB-BD31-4B8C-83A1-F6EECF244321}">
                <p14:modId xmlns:p14="http://schemas.microsoft.com/office/powerpoint/2010/main" val="2811412175"/>
              </p:ext>
            </p:extLst>
          </p:nvPr>
        </p:nvGraphicFramePr>
        <p:xfrm>
          <a:off x="7294563" y="2051050"/>
          <a:ext cx="4300537" cy="4041775"/>
        </p:xfrm>
        <a:graphic>
          <a:graphicData uri="http://schemas.openxmlformats.org/drawingml/2006/chart">
            <c:chart xmlns:c="http://schemas.openxmlformats.org/drawingml/2006/chart" xmlns:r="http://schemas.openxmlformats.org/officeDocument/2006/relationships" r:id="rId36"/>
          </a:graphicData>
        </a:graphic>
      </p:graphicFrame>
      <p:sp>
        <p:nvSpPr>
          <p:cNvPr id="240" name="Text Placeholder 2">
            <a:extLst>
              <a:ext uri="{FF2B5EF4-FFF2-40B4-BE49-F238E27FC236}">
                <a16:creationId xmlns:a16="http://schemas.microsoft.com/office/drawing/2014/main" id="{157E2803-2BF7-ABD7-C482-D7A3AD0399C5}"/>
              </a:ext>
            </a:extLst>
          </p:cNvPr>
          <p:cNvSpPr>
            <a:spLocks noGrp="1"/>
          </p:cNvSpPr>
          <p:nvPr>
            <p:custDataLst>
              <p:tags r:id="rId13"/>
            </p:custDataLst>
          </p:nvPr>
        </p:nvSpPr>
        <p:spPr bwMode="gray">
          <a:xfrm>
            <a:off x="7118350" y="5724525"/>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E5BE36-191C-4716-9937-90886B6E00B8}" type="datetime'''2''''''''''''''''''0'''''''''''''''''''''''''''''''''''''">
              <a:rPr lang="en-AU" altLang="en-US" sz="1000" smtClean="0">
                <a:effectLst/>
              </a:rPr>
              <a:pPr marL="0" lvl="0" indent="0" algn="r">
                <a:spcBef>
                  <a:spcPct val="0"/>
                </a:spcBef>
                <a:spcAft>
                  <a:spcPct val="0"/>
                </a:spcAft>
                <a:buNone/>
              </a:pPr>
              <a:t>20</a:t>
            </a:fld>
            <a:endParaRPr lang="en-AU" sz="1000"/>
          </a:p>
        </p:txBody>
      </p:sp>
      <p:sp>
        <p:nvSpPr>
          <p:cNvPr id="242" name="Text Placeholder 2">
            <a:extLst>
              <a:ext uri="{FF2B5EF4-FFF2-40B4-BE49-F238E27FC236}">
                <a16:creationId xmlns:a16="http://schemas.microsoft.com/office/drawing/2014/main" id="{157E2803-2BF7-ABD7-C482-D7A3AD0399C5}"/>
              </a:ext>
            </a:extLst>
          </p:cNvPr>
          <p:cNvSpPr>
            <a:spLocks noGrp="1"/>
          </p:cNvSpPr>
          <p:nvPr>
            <p:custDataLst>
              <p:tags r:id="rId14"/>
            </p:custDataLst>
          </p:nvPr>
        </p:nvSpPr>
        <p:spPr bwMode="gray">
          <a:xfrm>
            <a:off x="7118350" y="5280025"/>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2D03A6-A767-456A-A094-9846E61FE57F}" type="datetime'''6''''''''''''''''''''''''''0'''''''''''''''">
              <a:rPr lang="en-AU" altLang="en-US" sz="1000" smtClean="0">
                <a:effectLst/>
              </a:rPr>
              <a:pPr marL="0" lvl="0" indent="0" algn="r">
                <a:spcBef>
                  <a:spcPct val="0"/>
                </a:spcBef>
                <a:spcAft>
                  <a:spcPct val="0"/>
                </a:spcAft>
                <a:buNone/>
              </a:pPr>
              <a:t>60</a:t>
            </a:fld>
            <a:endParaRPr lang="en-AU" sz="1000"/>
          </a:p>
        </p:txBody>
      </p:sp>
      <p:sp>
        <p:nvSpPr>
          <p:cNvPr id="244" name="Text Placeholder 2">
            <a:extLst>
              <a:ext uri="{FF2B5EF4-FFF2-40B4-BE49-F238E27FC236}">
                <a16:creationId xmlns:a16="http://schemas.microsoft.com/office/drawing/2014/main" id="{157E2803-2BF7-ABD7-C482-D7A3AD0399C5}"/>
              </a:ext>
            </a:extLst>
          </p:cNvPr>
          <p:cNvSpPr>
            <a:spLocks noGrp="1"/>
          </p:cNvSpPr>
          <p:nvPr>
            <p:custDataLst>
              <p:tags r:id="rId15"/>
            </p:custDataLst>
          </p:nvPr>
        </p:nvSpPr>
        <p:spPr bwMode="gray">
          <a:xfrm>
            <a:off x="7053263" y="4833938"/>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92308BC-747F-4B0C-954F-3DB36607565D}" type="datetime'''''''''''''''''''''1''0''''''''0'''''''''''''''''''''''''''">
              <a:rPr lang="en-AU" altLang="en-US" sz="1000" smtClean="0">
                <a:effectLst/>
              </a:rPr>
              <a:pPr marL="0" lvl="0" indent="0" algn="r">
                <a:spcBef>
                  <a:spcPct val="0"/>
                </a:spcBef>
                <a:spcAft>
                  <a:spcPct val="0"/>
                </a:spcAft>
                <a:buNone/>
              </a:pPr>
              <a:t>100</a:t>
            </a:fld>
            <a:endParaRPr lang="en-AU" sz="1000"/>
          </a:p>
        </p:txBody>
      </p:sp>
      <p:sp>
        <p:nvSpPr>
          <p:cNvPr id="246" name="Text Placeholder 2">
            <a:extLst>
              <a:ext uri="{FF2B5EF4-FFF2-40B4-BE49-F238E27FC236}">
                <a16:creationId xmlns:a16="http://schemas.microsoft.com/office/drawing/2014/main" id="{157E2803-2BF7-ABD7-C482-D7A3AD0399C5}"/>
              </a:ext>
            </a:extLst>
          </p:cNvPr>
          <p:cNvSpPr>
            <a:spLocks noGrp="1"/>
          </p:cNvSpPr>
          <p:nvPr>
            <p:custDataLst>
              <p:tags r:id="rId16"/>
            </p:custDataLst>
          </p:nvPr>
        </p:nvSpPr>
        <p:spPr bwMode="gray">
          <a:xfrm>
            <a:off x="7053263" y="4389438"/>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90E3F4-CBAB-4637-820E-3ED2993722DE}" type="datetime'''''''''1''''''''''''''''''''''''4''''''''''''''0'''''''''''">
              <a:rPr lang="en-AU" altLang="en-US" sz="1000" smtClean="0">
                <a:effectLst/>
              </a:rPr>
              <a:pPr marL="0" lvl="0" indent="0" algn="r">
                <a:spcBef>
                  <a:spcPct val="0"/>
                </a:spcBef>
                <a:spcAft>
                  <a:spcPct val="0"/>
                </a:spcAft>
                <a:buNone/>
              </a:pPr>
              <a:t>140</a:t>
            </a:fld>
            <a:endParaRPr lang="en-AU" sz="1000"/>
          </a:p>
        </p:txBody>
      </p:sp>
      <p:sp>
        <p:nvSpPr>
          <p:cNvPr id="248" name="Text Placeholder 2">
            <a:extLst>
              <a:ext uri="{FF2B5EF4-FFF2-40B4-BE49-F238E27FC236}">
                <a16:creationId xmlns:a16="http://schemas.microsoft.com/office/drawing/2014/main" id="{157E2803-2BF7-ABD7-C482-D7A3AD0399C5}"/>
              </a:ext>
            </a:extLst>
          </p:cNvPr>
          <p:cNvSpPr>
            <a:spLocks noGrp="1"/>
          </p:cNvSpPr>
          <p:nvPr>
            <p:custDataLst>
              <p:tags r:id="rId17"/>
            </p:custDataLst>
          </p:nvPr>
        </p:nvSpPr>
        <p:spPr bwMode="gray">
          <a:xfrm>
            <a:off x="7053263" y="3944938"/>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8D9E6-5821-4735-9F30-C2E695194C6B}" type="datetime'''''''''''1''''''''''''80'''''''''''''''''''''''''''">
              <a:rPr lang="en-AU" altLang="en-US" sz="1000" smtClean="0">
                <a:effectLst/>
              </a:rPr>
              <a:pPr marL="0" lvl="0" indent="0" algn="r">
                <a:spcBef>
                  <a:spcPct val="0"/>
                </a:spcBef>
                <a:spcAft>
                  <a:spcPct val="0"/>
                </a:spcAft>
                <a:buNone/>
              </a:pPr>
              <a:t>180</a:t>
            </a:fld>
            <a:endParaRPr lang="en-AU" sz="1000"/>
          </a:p>
        </p:txBody>
      </p:sp>
      <p:sp>
        <p:nvSpPr>
          <p:cNvPr id="250" name="Text Placeholder 2">
            <a:extLst>
              <a:ext uri="{FF2B5EF4-FFF2-40B4-BE49-F238E27FC236}">
                <a16:creationId xmlns:a16="http://schemas.microsoft.com/office/drawing/2014/main" id="{157E2803-2BF7-ABD7-C482-D7A3AD0399C5}"/>
              </a:ext>
            </a:extLst>
          </p:cNvPr>
          <p:cNvSpPr>
            <a:spLocks noGrp="1"/>
          </p:cNvSpPr>
          <p:nvPr>
            <p:custDataLst>
              <p:tags r:id="rId18"/>
            </p:custDataLst>
          </p:nvPr>
        </p:nvSpPr>
        <p:spPr bwMode="gray">
          <a:xfrm>
            <a:off x="7053263" y="3500438"/>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F9C666-0409-4537-BCB6-BF5AD4485BE2}" type="datetime'''''''''''''''''''''''''''''''''''''''''''2''20'''''''''''">
              <a:rPr lang="en-AU" altLang="en-US" sz="1000" smtClean="0">
                <a:effectLst/>
              </a:rPr>
              <a:pPr marL="0" lvl="0" indent="0" algn="r">
                <a:spcBef>
                  <a:spcPct val="0"/>
                </a:spcBef>
                <a:spcAft>
                  <a:spcPct val="0"/>
                </a:spcAft>
                <a:buNone/>
              </a:pPr>
              <a:t>220</a:t>
            </a:fld>
            <a:endParaRPr lang="en-AU" sz="1000"/>
          </a:p>
        </p:txBody>
      </p:sp>
      <p:sp>
        <p:nvSpPr>
          <p:cNvPr id="252" name="Text Placeholder 2">
            <a:extLst>
              <a:ext uri="{FF2B5EF4-FFF2-40B4-BE49-F238E27FC236}">
                <a16:creationId xmlns:a16="http://schemas.microsoft.com/office/drawing/2014/main" id="{157E2803-2BF7-ABD7-C482-D7A3AD0399C5}"/>
              </a:ext>
            </a:extLst>
          </p:cNvPr>
          <p:cNvSpPr>
            <a:spLocks noGrp="1"/>
          </p:cNvSpPr>
          <p:nvPr>
            <p:custDataLst>
              <p:tags r:id="rId19"/>
            </p:custDataLst>
          </p:nvPr>
        </p:nvSpPr>
        <p:spPr bwMode="gray">
          <a:xfrm>
            <a:off x="7053263" y="3054350"/>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6AC66FF-810E-4F8D-A786-B551E30CDFDE}" type="datetime'''''26''''''''''0'''''''''''''''''''''''''''''''''''">
              <a:rPr lang="en-AU" altLang="en-US" sz="1000" smtClean="0">
                <a:effectLst/>
              </a:rPr>
              <a:pPr marL="0" lvl="0" indent="0" algn="r">
                <a:spcBef>
                  <a:spcPct val="0"/>
                </a:spcBef>
                <a:spcAft>
                  <a:spcPct val="0"/>
                </a:spcAft>
                <a:buNone/>
              </a:pPr>
              <a:t>260</a:t>
            </a:fld>
            <a:endParaRPr lang="en-AU" sz="1000"/>
          </a:p>
        </p:txBody>
      </p:sp>
      <p:sp>
        <p:nvSpPr>
          <p:cNvPr id="254" name="Text Placeholder 2">
            <a:extLst>
              <a:ext uri="{FF2B5EF4-FFF2-40B4-BE49-F238E27FC236}">
                <a16:creationId xmlns:a16="http://schemas.microsoft.com/office/drawing/2014/main" id="{157E2803-2BF7-ABD7-C482-D7A3AD0399C5}"/>
              </a:ext>
            </a:extLst>
          </p:cNvPr>
          <p:cNvSpPr>
            <a:spLocks noGrp="1"/>
          </p:cNvSpPr>
          <p:nvPr>
            <p:custDataLst>
              <p:tags r:id="rId20"/>
            </p:custDataLst>
          </p:nvPr>
        </p:nvSpPr>
        <p:spPr bwMode="gray">
          <a:xfrm>
            <a:off x="7053263" y="2609850"/>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B3208A-DE5D-4299-858C-8E85557CB436}" type="datetime'''30''''''''''''''''''''''''''''''0'">
              <a:rPr lang="en-AU" altLang="en-US" sz="1000" smtClean="0">
                <a:effectLst/>
              </a:rPr>
              <a:pPr marL="0" lvl="0" indent="0" algn="r">
                <a:spcBef>
                  <a:spcPct val="0"/>
                </a:spcBef>
                <a:spcAft>
                  <a:spcPct val="0"/>
                </a:spcAft>
                <a:buNone/>
              </a:pPr>
              <a:t>300</a:t>
            </a:fld>
            <a:endParaRPr lang="en-AU" sz="1000"/>
          </a:p>
        </p:txBody>
      </p:sp>
      <p:sp>
        <p:nvSpPr>
          <p:cNvPr id="255" name="Text Placeholder 2">
            <a:extLst>
              <a:ext uri="{FF2B5EF4-FFF2-40B4-BE49-F238E27FC236}">
                <a16:creationId xmlns:a16="http://schemas.microsoft.com/office/drawing/2014/main" id="{157E2803-2BF7-ABD7-C482-D7A3AD0399C5}"/>
              </a:ext>
            </a:extLst>
          </p:cNvPr>
          <p:cNvSpPr>
            <a:spLocks noGrp="1"/>
          </p:cNvSpPr>
          <p:nvPr>
            <p:custDataLst>
              <p:tags r:id="rId21"/>
            </p:custDataLst>
          </p:nvPr>
        </p:nvSpPr>
        <p:spPr bwMode="gray">
          <a:xfrm>
            <a:off x="7053263" y="2165350"/>
            <a:ext cx="19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31D9078-55E6-4C42-9A10-B1F1ABF5CA8B}" type="datetime'''''''''''3''4''''''''0'''''''''''''''''''''''''''''">
              <a:rPr lang="en-AU" altLang="en-US" sz="1000" smtClean="0">
                <a:effectLst/>
              </a:rPr>
              <a:pPr marL="0" lvl="0" indent="0" algn="r">
                <a:spcBef>
                  <a:spcPct val="0"/>
                </a:spcBef>
                <a:spcAft>
                  <a:spcPct val="0"/>
                </a:spcAft>
                <a:buNone/>
              </a:pPr>
              <a:t>340</a:t>
            </a:fld>
            <a:endParaRPr lang="en-AU" sz="1000"/>
          </a:p>
        </p:txBody>
      </p:sp>
      <p:sp>
        <p:nvSpPr>
          <p:cNvPr id="18" name="Text Placeholder 2">
            <a:extLst>
              <a:ext uri="{FF2B5EF4-FFF2-40B4-BE49-F238E27FC236}">
                <a16:creationId xmlns:a16="http://schemas.microsoft.com/office/drawing/2014/main" id="{157E2803-2BF7-ABD7-C482-D7A3AD0399C5}"/>
              </a:ext>
            </a:extLst>
          </p:cNvPr>
          <p:cNvSpPr>
            <a:spLocks noGrp="1"/>
          </p:cNvSpPr>
          <p:nvPr>
            <p:custDataLst>
              <p:tags r:id="rId22"/>
            </p:custDataLst>
          </p:nvPr>
        </p:nvSpPr>
        <p:spPr bwMode="auto">
          <a:xfrm>
            <a:off x="7454900" y="6096000"/>
            <a:ext cx="303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2DF21B-CC7C-49D2-830A-BEFB9E27BE00}" type="datetime'''C''''''''h''i''''''''''''''''''''''n''''''''''''''''''a'''''">
              <a:rPr lang="en-AU" altLang="en-US" sz="1000" smtClean="0"/>
              <a:pPr marL="0" lvl="0" indent="0" algn="ctr">
                <a:spcBef>
                  <a:spcPct val="0"/>
                </a:spcBef>
                <a:spcAft>
                  <a:spcPct val="0"/>
                </a:spcAft>
                <a:buNone/>
              </a:pPr>
              <a:t>China</a:t>
            </a:fld>
            <a:endParaRPr lang="en-AU" sz="1000"/>
          </a:p>
        </p:txBody>
      </p:sp>
      <p:sp>
        <p:nvSpPr>
          <p:cNvPr id="32" name="Text Placeholder 2">
            <a:extLst>
              <a:ext uri="{FF2B5EF4-FFF2-40B4-BE49-F238E27FC236}">
                <a16:creationId xmlns:a16="http://schemas.microsoft.com/office/drawing/2014/main" id="{5D65A820-9D1B-5257-C6AE-25173CA0ECA4}"/>
              </a:ext>
            </a:extLst>
          </p:cNvPr>
          <p:cNvSpPr>
            <a:spLocks noGrp="1"/>
          </p:cNvSpPr>
          <p:nvPr>
            <p:custDataLst>
              <p:tags r:id="rId23"/>
            </p:custDataLst>
          </p:nvPr>
        </p:nvSpPr>
        <p:spPr bwMode="auto">
          <a:xfrm>
            <a:off x="7974013" y="6096000"/>
            <a:ext cx="184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0084E0-0FEB-42C2-A6AC-C0EC23F8AEEC}" type="datetime'''''''''''''''''U''''''''''''''''''''''.''''''''''''''''''S'">
              <a:rPr lang="en-AU" altLang="en-US" sz="1000" smtClean="0"/>
              <a:pPr marL="0" lvl="0" indent="0" algn="ctr">
                <a:spcBef>
                  <a:spcPct val="0"/>
                </a:spcBef>
                <a:spcAft>
                  <a:spcPct val="0"/>
                </a:spcAft>
                <a:buNone/>
              </a:pPr>
              <a:t>U.S</a:t>
            </a:fld>
            <a:endParaRPr lang="en-AU" sz="1000"/>
          </a:p>
        </p:txBody>
      </p:sp>
      <p:sp>
        <p:nvSpPr>
          <p:cNvPr id="35" name="Text Placeholder 2">
            <a:extLst>
              <a:ext uri="{FF2B5EF4-FFF2-40B4-BE49-F238E27FC236}">
                <a16:creationId xmlns:a16="http://schemas.microsoft.com/office/drawing/2014/main" id="{546A5A00-4CA4-6B68-3A13-BAD163ADE4E9}"/>
              </a:ext>
            </a:extLst>
          </p:cNvPr>
          <p:cNvSpPr>
            <a:spLocks noGrp="1"/>
          </p:cNvSpPr>
          <p:nvPr>
            <p:custDataLst>
              <p:tags r:id="rId24"/>
            </p:custDataLst>
          </p:nvPr>
        </p:nvSpPr>
        <p:spPr bwMode="auto">
          <a:xfrm>
            <a:off x="8281988" y="6096000"/>
            <a:ext cx="485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E4E195-5187-4971-A831-0712D06BB25A}" type="datetime'''''G''''e''''''r''''''''''''m''''''''''''''''''''''''any'''">
              <a:rPr lang="en-AU" altLang="en-US" sz="1000" smtClean="0"/>
              <a:pPr marL="0" lvl="0" indent="0" algn="ctr">
                <a:spcBef>
                  <a:spcPct val="0"/>
                </a:spcBef>
                <a:spcAft>
                  <a:spcPct val="0"/>
                </a:spcAft>
                <a:buNone/>
              </a:pPr>
              <a:t>Germany</a:t>
            </a:fld>
            <a:endParaRPr lang="en-AU" sz="1000"/>
          </a:p>
        </p:txBody>
      </p:sp>
      <p:sp>
        <p:nvSpPr>
          <p:cNvPr id="38" name="Text Placeholder 2">
            <a:extLst>
              <a:ext uri="{FF2B5EF4-FFF2-40B4-BE49-F238E27FC236}">
                <a16:creationId xmlns:a16="http://schemas.microsoft.com/office/drawing/2014/main" id="{5561C089-7D65-2038-B31C-5144A665B12B}"/>
              </a:ext>
            </a:extLst>
          </p:cNvPr>
          <p:cNvSpPr>
            <a:spLocks noGrp="1"/>
          </p:cNvSpPr>
          <p:nvPr>
            <p:custDataLst>
              <p:tags r:id="rId25"/>
            </p:custDataLst>
          </p:nvPr>
        </p:nvSpPr>
        <p:spPr bwMode="auto">
          <a:xfrm>
            <a:off x="8851900" y="6096000"/>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077E9E4-6953-4342-8146-5AF3D3981616}" type="datetime'''''''In''''d''''i''''''''''a'''''''''''''">
              <a:rPr lang="en-AU" altLang="en-US" sz="1000" smtClean="0"/>
              <a:pPr marL="0" lvl="0" indent="0" algn="ctr">
                <a:spcBef>
                  <a:spcPct val="0"/>
                </a:spcBef>
                <a:spcAft>
                  <a:spcPct val="0"/>
                </a:spcAft>
                <a:buNone/>
              </a:pPr>
              <a:t>India</a:t>
            </a:fld>
            <a:endParaRPr lang="en-AU" sz="1000"/>
          </a:p>
        </p:txBody>
      </p:sp>
      <p:sp>
        <p:nvSpPr>
          <p:cNvPr id="44" name="Text Placeholder 2">
            <a:extLst>
              <a:ext uri="{FF2B5EF4-FFF2-40B4-BE49-F238E27FC236}">
                <a16:creationId xmlns:a16="http://schemas.microsoft.com/office/drawing/2014/main" id="{D9120BAD-03CA-94A5-FA00-F7A35DD9A4E5}"/>
              </a:ext>
            </a:extLst>
          </p:cNvPr>
          <p:cNvSpPr>
            <a:spLocks noGrp="1"/>
          </p:cNvSpPr>
          <p:nvPr>
            <p:custDataLst>
              <p:tags r:id="rId26"/>
            </p:custDataLst>
          </p:nvPr>
        </p:nvSpPr>
        <p:spPr bwMode="auto">
          <a:xfrm>
            <a:off x="9364663" y="6096000"/>
            <a:ext cx="160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BD93E3-8F2E-4F30-97CD-0FC5456DA849}" type="datetime'''''''''''''''U''''''''''''''''K'''''''''''''''''''''''''''">
              <a:rPr lang="en-AU" altLang="en-US" sz="1000" smtClean="0"/>
              <a:pPr marL="0" lvl="0" indent="0" algn="ctr">
                <a:spcBef>
                  <a:spcPct val="0"/>
                </a:spcBef>
                <a:spcAft>
                  <a:spcPct val="0"/>
                </a:spcAft>
                <a:buNone/>
              </a:pPr>
              <a:t>UK</a:t>
            </a:fld>
            <a:endParaRPr lang="en-AU" sz="1000"/>
          </a:p>
        </p:txBody>
      </p:sp>
      <p:sp>
        <p:nvSpPr>
          <p:cNvPr id="47" name="Text Placeholder 2">
            <a:extLst>
              <a:ext uri="{FF2B5EF4-FFF2-40B4-BE49-F238E27FC236}">
                <a16:creationId xmlns:a16="http://schemas.microsoft.com/office/drawing/2014/main" id="{511EC679-FF30-19D6-F9FF-97D86B17C799}"/>
              </a:ext>
            </a:extLst>
          </p:cNvPr>
          <p:cNvSpPr>
            <a:spLocks noGrp="1"/>
          </p:cNvSpPr>
          <p:nvPr>
            <p:custDataLst>
              <p:tags r:id="rId27"/>
            </p:custDataLst>
          </p:nvPr>
        </p:nvSpPr>
        <p:spPr bwMode="auto">
          <a:xfrm>
            <a:off x="9725025" y="6096000"/>
            <a:ext cx="360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7A23CC-0452-46B6-A86A-43D31C0355F9}" type="datetime'''''''''''''''F''ra''''''''''''''nc''''''e'''''''''''''''">
              <a:rPr lang="en-AU" altLang="en-US" sz="1000" smtClean="0"/>
              <a:pPr marL="0" lvl="0" indent="0" algn="ctr">
                <a:spcBef>
                  <a:spcPct val="0"/>
                </a:spcBef>
                <a:spcAft>
                  <a:spcPct val="0"/>
                </a:spcAft>
                <a:buNone/>
              </a:pPr>
              <a:t>France</a:t>
            </a:fld>
            <a:endParaRPr lang="en-AU" sz="1000"/>
          </a:p>
        </p:txBody>
      </p:sp>
      <p:sp>
        <p:nvSpPr>
          <p:cNvPr id="50" name="Text Placeholder 2">
            <a:extLst>
              <a:ext uri="{FF2B5EF4-FFF2-40B4-BE49-F238E27FC236}">
                <a16:creationId xmlns:a16="http://schemas.microsoft.com/office/drawing/2014/main" id="{839135F9-7162-242D-D3FC-A07DA98CD839}"/>
              </a:ext>
            </a:extLst>
          </p:cNvPr>
          <p:cNvSpPr>
            <a:spLocks noGrp="1"/>
          </p:cNvSpPr>
          <p:nvPr>
            <p:custDataLst>
              <p:tags r:id="rId28"/>
            </p:custDataLst>
          </p:nvPr>
        </p:nvSpPr>
        <p:spPr bwMode="auto">
          <a:xfrm>
            <a:off x="10215563" y="6096000"/>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E4164B-7AEA-4E42-AA54-61CDD7565377}" type="datetime'''''''''''''''''''B''''''raz''''''''''''i''''''''''l'''''''''">
              <a:rPr lang="en-AU" altLang="en-US" sz="1000" smtClean="0"/>
              <a:pPr marL="0" lvl="0" indent="0" algn="ctr">
                <a:spcBef>
                  <a:spcPct val="0"/>
                </a:spcBef>
                <a:spcAft>
                  <a:spcPct val="0"/>
                </a:spcAft>
                <a:buNone/>
              </a:pPr>
              <a:t>Brazil</a:t>
            </a:fld>
            <a:endParaRPr lang="en-AU" sz="1000"/>
          </a:p>
        </p:txBody>
      </p:sp>
      <p:sp>
        <p:nvSpPr>
          <p:cNvPr id="53" name="Text Placeholder 2">
            <a:extLst>
              <a:ext uri="{FF2B5EF4-FFF2-40B4-BE49-F238E27FC236}">
                <a16:creationId xmlns:a16="http://schemas.microsoft.com/office/drawing/2014/main" id="{E31E34D7-53E7-EBEE-CD0F-0434A85EA9DB}"/>
              </a:ext>
            </a:extLst>
          </p:cNvPr>
          <p:cNvSpPr>
            <a:spLocks noGrp="1"/>
          </p:cNvSpPr>
          <p:nvPr>
            <p:custDataLst>
              <p:tags r:id="rId29"/>
            </p:custDataLst>
          </p:nvPr>
        </p:nvSpPr>
        <p:spPr bwMode="auto">
          <a:xfrm>
            <a:off x="10626725" y="6096000"/>
            <a:ext cx="395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95247E-B1C7-4AAA-904B-F7ED05F6964D}" type="datetime'C''''''''''''''''''a''''na''d''''''''''''a'''''''''''''''''''">
              <a:rPr lang="en-AU" altLang="en-US" sz="1000" smtClean="0"/>
              <a:pPr marL="0" lvl="0" indent="0" algn="ctr">
                <a:spcBef>
                  <a:spcPct val="0"/>
                </a:spcBef>
                <a:spcAft>
                  <a:spcPct val="0"/>
                </a:spcAft>
                <a:buNone/>
              </a:pPr>
              <a:t>Canada</a:t>
            </a:fld>
            <a:endParaRPr lang="en-AU" sz="1000"/>
          </a:p>
        </p:txBody>
      </p:sp>
      <p:sp>
        <p:nvSpPr>
          <p:cNvPr id="56" name="Text Placeholder 2">
            <a:extLst>
              <a:ext uri="{FF2B5EF4-FFF2-40B4-BE49-F238E27FC236}">
                <a16:creationId xmlns:a16="http://schemas.microsoft.com/office/drawing/2014/main" id="{C3931345-9C13-E839-C086-02A6C84EA14B}"/>
              </a:ext>
            </a:extLst>
          </p:cNvPr>
          <p:cNvSpPr>
            <a:spLocks noGrp="1"/>
          </p:cNvSpPr>
          <p:nvPr>
            <p:custDataLst>
              <p:tags r:id="rId30"/>
            </p:custDataLst>
          </p:nvPr>
        </p:nvSpPr>
        <p:spPr bwMode="auto">
          <a:xfrm>
            <a:off x="11117263" y="6096000"/>
            <a:ext cx="331788"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769EE1-25BE-4E35-A89F-E5A7AA6E9ADF}" type="datetime'Res''t'' o''f'''''''''' ''''t''''he'' W''''or''''''''''ld'''''">
              <a:rPr lang="en-AU" altLang="en-US" sz="1000" smtClean="0"/>
              <a:pPr marL="0" lvl="0" indent="0" algn="ctr">
                <a:spcBef>
                  <a:spcPct val="0"/>
                </a:spcBef>
                <a:spcAft>
                  <a:spcPct val="0"/>
                </a:spcAft>
                <a:buNone/>
              </a:pPr>
              <a:t>Rest of the World</a:t>
            </a:fld>
            <a:endParaRPr lang="en-AU" sz="1000"/>
          </a:p>
        </p:txBody>
      </p:sp>
      <p:sp useBgFill="1">
        <p:nvSpPr>
          <p:cNvPr id="179" name="Text Placeholder 2">
            <a:extLst>
              <a:ext uri="{FF2B5EF4-FFF2-40B4-BE49-F238E27FC236}">
                <a16:creationId xmlns:a16="http://schemas.microsoft.com/office/drawing/2014/main" id="{157E2803-2BF7-ABD7-C482-D7A3AD0399C5}"/>
              </a:ext>
            </a:extLst>
          </p:cNvPr>
          <p:cNvSpPr>
            <a:spLocks noGrp="1"/>
          </p:cNvSpPr>
          <p:nvPr>
            <p:custDataLst>
              <p:tags r:id="rId31"/>
            </p:custDataLst>
          </p:nvPr>
        </p:nvSpPr>
        <p:spPr bwMode="gray">
          <a:xfrm>
            <a:off x="7899400" y="4352925"/>
            <a:ext cx="333375" cy="136525"/>
          </a:xfrm>
          <a:prstGeom prst="rect">
            <a:avLst/>
          </a:prstGeom>
          <a:ln>
            <a:noFill/>
          </a:ln>
          <a:effectLst/>
        </p:spPr>
        <p:txBody>
          <a:bodyPr vert="horz" wrap="none" lIns="20638" tIns="0" rIns="20638"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7DD78A-43AC-4919-9C5D-236F3145C57F}" type="datetime'1''''''3''''''''''''''''4''''''''''.''''''''''''''''''''4'''">
              <a:rPr lang="en-AU" altLang="en-US" sz="1000" smtClean="0">
                <a:effectLst/>
              </a:rPr>
              <a:pPr marL="0" lvl="0" indent="0" algn="ctr">
                <a:spcBef>
                  <a:spcPct val="0"/>
                </a:spcBef>
                <a:spcAft>
                  <a:spcPct val="0"/>
                </a:spcAft>
                <a:buNone/>
              </a:pPr>
              <a:t>134.4</a:t>
            </a:fld>
            <a:endParaRPr lang="en-AU" sz="1000"/>
          </a:p>
        </p:txBody>
      </p:sp>
      <p:sp useBgFill="1">
        <p:nvSpPr>
          <p:cNvPr id="181" name="Text Placeholder 2">
            <a:extLst>
              <a:ext uri="{FF2B5EF4-FFF2-40B4-BE49-F238E27FC236}">
                <a16:creationId xmlns:a16="http://schemas.microsoft.com/office/drawing/2014/main" id="{157E2803-2BF7-ABD7-C482-D7A3AD0399C5}"/>
              </a:ext>
            </a:extLst>
          </p:cNvPr>
          <p:cNvSpPr>
            <a:spLocks noGrp="1"/>
          </p:cNvSpPr>
          <p:nvPr>
            <p:custDataLst>
              <p:tags r:id="rId32"/>
            </p:custDataLst>
          </p:nvPr>
        </p:nvSpPr>
        <p:spPr bwMode="gray">
          <a:xfrm>
            <a:off x="10690225" y="5689600"/>
            <a:ext cx="268288" cy="136525"/>
          </a:xfrm>
          <a:prstGeom prst="rect">
            <a:avLst/>
          </a:prstGeom>
          <a:ln>
            <a:noFill/>
          </a:ln>
          <a:effectLst/>
        </p:spPr>
        <p:txBody>
          <a:bodyPr vert="horz" wrap="none" lIns="20638" tIns="0" rIns="20638"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157E6D-5DAF-4B5C-85C5-2EB85AF3AEFA}" type="datetime'''''''''''''''''''''1''4''''''''''''''''''''''.3'''''''''''''">
              <a:rPr lang="en-AU" altLang="en-US" sz="1000" smtClean="0">
                <a:effectLst/>
              </a:rPr>
              <a:pPr marL="0" lvl="0" indent="0" algn="ctr">
                <a:spcBef>
                  <a:spcPct val="0"/>
                </a:spcBef>
                <a:spcAft>
                  <a:spcPct val="0"/>
                </a:spcAft>
                <a:buNone/>
              </a:pPr>
              <a:t>14.3</a:t>
            </a:fld>
            <a:endParaRPr lang="en-AU" sz="1000"/>
          </a:p>
        </p:txBody>
      </p:sp>
      <p:sp>
        <p:nvSpPr>
          <p:cNvPr id="301" name="TextBox 300">
            <a:extLst>
              <a:ext uri="{FF2B5EF4-FFF2-40B4-BE49-F238E27FC236}">
                <a16:creationId xmlns:a16="http://schemas.microsoft.com/office/drawing/2014/main" id="{9EF14CCA-868D-8F02-BECD-BFD20B06E6AC}"/>
              </a:ext>
            </a:extLst>
          </p:cNvPr>
          <p:cNvSpPr txBox="1"/>
          <p:nvPr/>
        </p:nvSpPr>
        <p:spPr>
          <a:xfrm>
            <a:off x="596900" y="2095304"/>
            <a:ext cx="5220215" cy="3970318"/>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n-AU" sz="1200">
                <a:latin typeface="Segoe UI Light"/>
                <a:cs typeface="Segoe UI Light"/>
              </a:rPr>
              <a:t>The global renewable energy market size was valued at $1.1 trillion (USD) in 2022 and has been projected to grow at 16.9% per year from 2023 to 2030. </a:t>
            </a: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a:cs typeface="Segoe UI Light"/>
            </a:endParaRPr>
          </a:p>
          <a:p>
            <a:pPr marL="174625" indent="-174625">
              <a:buFont typeface="Arial" panose="020B0604020202020204" pitchFamily="34" charset="0"/>
              <a:buChar char="•"/>
            </a:pPr>
            <a:r>
              <a:rPr lang="en-AU" sz="1200">
                <a:latin typeface="Segoe UI Light"/>
                <a:cs typeface="Segoe UI Light"/>
              </a:rPr>
              <a:t>The global wind energy market was valued at over $99.28 billion in 2021, behind the solar power and hydropower segments. </a:t>
            </a: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a:cs typeface="Segoe UI Light"/>
              </a:rPr>
              <a:t>The US is the second largest generator of wind energy of installed wind turbine capacity in the world in 2021 at 132.7GW, behind China who are market leaders globally. </a:t>
            </a: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a:cs typeface="Segoe UI Light"/>
              </a:rPr>
              <a:t>The US’s capacity is greater than the total of Germany, India and the UK. </a:t>
            </a: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a:ea typeface="Calibri"/>
                <a:cs typeface="Segoe UI Light"/>
              </a:rPr>
              <a:t>More than 60,000 turbines are installed in the U.S., with cumulative capacity of 134.2 GW.</a:t>
            </a:r>
            <a:endParaRPr lang="en-AU"/>
          </a:p>
          <a:p>
            <a:pPr marL="174625" indent="-174625">
              <a:buFont typeface="Arial" panose="020B0604020202020204" pitchFamily="34" charset="0"/>
              <a:buChar char="•"/>
            </a:pPr>
            <a:endParaRPr lang="en-AU" sz="1200">
              <a:latin typeface="Segoe UI Light"/>
              <a:ea typeface="Calibri"/>
              <a:cs typeface="Segoe UI Light"/>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92075" indent="-9207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sp>
        <p:nvSpPr>
          <p:cNvPr id="306" name="TextBox 305">
            <a:extLst>
              <a:ext uri="{FF2B5EF4-FFF2-40B4-BE49-F238E27FC236}">
                <a16:creationId xmlns:a16="http://schemas.microsoft.com/office/drawing/2014/main" id="{4B9DE404-AE16-C006-6589-CF1062CF37B5}"/>
              </a:ext>
            </a:extLst>
          </p:cNvPr>
          <p:cNvSpPr txBox="1"/>
          <p:nvPr/>
        </p:nvSpPr>
        <p:spPr>
          <a:xfrm rot="16200000">
            <a:off x="5713633" y="3986105"/>
            <a:ext cx="2341617" cy="246221"/>
          </a:xfrm>
          <a:prstGeom prst="rect">
            <a:avLst/>
          </a:prstGeom>
          <a:noFill/>
        </p:spPr>
        <p:txBody>
          <a:bodyPr wrap="square" rtlCol="0">
            <a:spAutoFit/>
          </a:bodyPr>
          <a:lstStyle/>
          <a:p>
            <a:pPr algn="ctr"/>
            <a:r>
              <a:rPr lang="en-AU" sz="1000">
                <a:latin typeface="Segoe UI Semibold" panose="020B0702040204020203" pitchFamily="34" charset="0"/>
                <a:cs typeface="Segoe UI Semibold" panose="020B0702040204020203" pitchFamily="34" charset="0"/>
              </a:rPr>
              <a:t>Installed Wind Capacity (GW)</a:t>
            </a:r>
          </a:p>
        </p:txBody>
      </p:sp>
      <p:sp>
        <p:nvSpPr>
          <p:cNvPr id="316" name="Rounded Rectangle 61">
            <a:extLst>
              <a:ext uri="{FF2B5EF4-FFF2-40B4-BE49-F238E27FC236}">
                <a16:creationId xmlns:a16="http://schemas.microsoft.com/office/drawing/2014/main" id="{F13E0D91-47D0-DC86-5E67-D0E090E56B2A}"/>
              </a:ext>
            </a:extLst>
          </p:cNvPr>
          <p:cNvSpPr/>
          <p:nvPr/>
        </p:nvSpPr>
        <p:spPr bwMode="gray">
          <a:xfrm>
            <a:off x="614757"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Global Wind Turbine Market </a:t>
            </a:r>
          </a:p>
        </p:txBody>
      </p:sp>
      <p:sp>
        <p:nvSpPr>
          <p:cNvPr id="317" name="Rectangle 316">
            <a:extLst>
              <a:ext uri="{FF2B5EF4-FFF2-40B4-BE49-F238E27FC236}">
                <a16:creationId xmlns:a16="http://schemas.microsoft.com/office/drawing/2014/main" id="{1852E4DA-DC28-2A39-2DB7-E79A71AEF43C}"/>
              </a:ext>
            </a:extLst>
          </p:cNvPr>
          <p:cNvSpPr/>
          <p:nvPr/>
        </p:nvSpPr>
        <p:spPr>
          <a:xfrm>
            <a:off x="-1266825" y="49530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PB</a:t>
            </a:r>
          </a:p>
        </p:txBody>
      </p:sp>
    </p:spTree>
    <p:extLst>
      <p:ext uri="{BB962C8B-B14F-4D97-AF65-F5344CB8AC3E}">
        <p14:creationId xmlns:p14="http://schemas.microsoft.com/office/powerpoint/2010/main" val="37937992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13. Location and output – how YoY output has evolved from 2017 – 2021</a:t>
            </a:r>
          </a:p>
        </p:txBody>
      </p:sp>
      <p:pic>
        <p:nvPicPr>
          <p:cNvPr id="3" name="Picture 2">
            <a:extLst>
              <a:ext uri="{FF2B5EF4-FFF2-40B4-BE49-F238E27FC236}">
                <a16:creationId xmlns:a16="http://schemas.microsoft.com/office/drawing/2014/main" id="{91C6200C-07ED-B409-C11F-B8B8F1309C00}"/>
              </a:ext>
            </a:extLst>
          </p:cNvPr>
          <p:cNvPicPr>
            <a:picLocks noChangeAspect="1"/>
          </p:cNvPicPr>
          <p:nvPr/>
        </p:nvPicPr>
        <p:blipFill>
          <a:blip r:embed="rId6"/>
          <a:stretch>
            <a:fillRect/>
          </a:stretch>
        </p:blipFill>
        <p:spPr>
          <a:xfrm>
            <a:off x="986319" y="1713191"/>
            <a:ext cx="6085031" cy="4851995"/>
          </a:xfrm>
          <a:prstGeom prst="rect">
            <a:avLst/>
          </a:prstGeom>
        </p:spPr>
      </p:pic>
    </p:spTree>
    <p:extLst>
      <p:ext uri="{BB962C8B-B14F-4D97-AF65-F5344CB8AC3E}">
        <p14:creationId xmlns:p14="http://schemas.microsoft.com/office/powerpoint/2010/main" val="33957340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3"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7467A666-1D86-3A83-1AD0-BC7FE7914A57}"/>
              </a:ext>
            </a:extLst>
          </p:cNvPr>
          <p:cNvSpPr>
            <a:spLocks noGrp="1"/>
          </p:cNvSpPr>
          <p:nvPr>
            <p:ph idx="1"/>
          </p:nvPr>
        </p:nvSpPr>
        <p:spPr/>
        <p:txBody>
          <a:bodyPr>
            <a:normAutofit/>
          </a:bodyPr>
          <a:lstStyle/>
          <a:p>
            <a:pPr marL="0" indent="0">
              <a:lnSpc>
                <a:spcPct val="107000"/>
              </a:lnSpc>
              <a:spcAft>
                <a:spcPts val="800"/>
              </a:spcAft>
              <a:buNone/>
            </a:pPr>
            <a:r>
              <a:rPr lang="en-AU" sz="1200" b="1" u="sng">
                <a:solidFill>
                  <a:srgbClr val="000000"/>
                </a:solidFill>
                <a:effectLst/>
                <a:latin typeface="Segoe UI Light" panose="020B0502040204020203" pitchFamily="34" charset="0"/>
                <a:ea typeface="Times New Roman" panose="02020603050405020304" pitchFamily="18" charset="0"/>
                <a:cs typeface="Times New Roman" panose="02020603050405020304" pitchFamily="18" charset="0"/>
              </a:rPr>
              <a:t>Global Market</a:t>
            </a:r>
            <a:r>
              <a:rPr lang="en-AU" sz="1200" b="1">
                <a:solidFill>
                  <a:srgbClr val="000000"/>
                </a:solidFill>
                <a:effectLst/>
                <a:latin typeface="Segoe UI Light" panose="020B0502040204020203" pitchFamily="34" charset="0"/>
                <a:ea typeface="Times New Roman" panose="02020603050405020304" pitchFamily="18" charset="0"/>
                <a:cs typeface="Times New Roman" panose="02020603050405020304" pitchFamily="18" charset="0"/>
              </a:rPr>
              <a:t> </a:t>
            </a:r>
            <a:endParaRPr lang="en-AU"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AU" sz="1200">
                <a:solidFill>
                  <a:srgbClr val="363636"/>
                </a:solidFill>
                <a:effectLst/>
                <a:latin typeface="itcfranklingothicstd-book"/>
                <a:ea typeface="Calibri" panose="020F0502020204030204" pitchFamily="34" charset="0"/>
                <a:cs typeface="Times New Roman" panose="02020603050405020304" pitchFamily="18" charset="0"/>
              </a:rPr>
              <a:t>The global </a:t>
            </a:r>
            <a:r>
              <a:rPr lang="en-AU" sz="1200" b="1">
                <a:effectLst/>
                <a:latin typeface="itcfranklingothicstd-book"/>
                <a:ea typeface="Calibri" panose="020F0502020204030204" pitchFamily="34" charset="0"/>
                <a:cs typeface="Times New Roman" panose="02020603050405020304" pitchFamily="18" charset="0"/>
              </a:rPr>
              <a:t>renewable energy market size</a:t>
            </a:r>
            <a:r>
              <a:rPr lang="en-AU" sz="1200">
                <a:effectLst/>
                <a:latin typeface="Calibri" panose="020F0502020204030204" pitchFamily="34" charset="0"/>
                <a:ea typeface="Calibri" panose="020F0502020204030204" pitchFamily="34" charset="0"/>
                <a:cs typeface="Times New Roman" panose="02020603050405020304" pitchFamily="18" charset="0"/>
              </a:rPr>
              <a:t> was valued at </a:t>
            </a:r>
            <a:r>
              <a:rPr lang="en-AU" sz="1200" b="1">
                <a:effectLst/>
                <a:latin typeface="itcfranklingothicstd-book"/>
                <a:ea typeface="Calibri" panose="020F0502020204030204" pitchFamily="34" charset="0"/>
                <a:cs typeface="Times New Roman" panose="02020603050405020304" pitchFamily="18" charset="0"/>
              </a:rPr>
              <a:t>USD 1.1 trillion in 2022</a:t>
            </a:r>
            <a:r>
              <a:rPr lang="en-AU" sz="1200">
                <a:effectLst/>
                <a:latin typeface="Calibri" panose="020F0502020204030204" pitchFamily="34" charset="0"/>
                <a:ea typeface="Calibri" panose="020F0502020204030204" pitchFamily="34" charset="0"/>
                <a:cs typeface="Times New Roman" panose="02020603050405020304" pitchFamily="18" charset="0"/>
              </a:rPr>
              <a:t> and is projected to grow at a compound annual growth rate (CAGR) of 16.9% from 2023 to 2030 (source: </a:t>
            </a:r>
            <a:r>
              <a:rPr lang="en-AU" sz="12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https://www.grandviewresearch.com/industry-analysis/renewable-energy-market</a:t>
            </a:r>
            <a:r>
              <a:rPr lang="en-AU" sz="12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buFont typeface="Symbol" panose="05050102010706020507" pitchFamily="18" charset="2"/>
              <a:buChar char=""/>
            </a:pPr>
            <a:r>
              <a:rPr lang="en-AU" sz="1200">
                <a:solidFill>
                  <a:srgbClr val="363636"/>
                </a:solidFill>
                <a:effectLst/>
                <a:latin typeface="itcfranklingothicstd-book"/>
                <a:ea typeface="Calibri" panose="020F0502020204030204" pitchFamily="34" charset="0"/>
                <a:cs typeface="Times New Roman" panose="02020603050405020304" pitchFamily="18" charset="0"/>
              </a:rPr>
              <a:t>In 2022, the global solar power segment accounted for the largest </a:t>
            </a:r>
            <a:r>
              <a:rPr lang="en-AU" sz="1200" err="1">
                <a:solidFill>
                  <a:srgbClr val="363636"/>
                </a:solidFill>
                <a:effectLst/>
                <a:latin typeface="itcfranklingothicstd-book"/>
                <a:ea typeface="Calibri" panose="020F0502020204030204" pitchFamily="34" charset="0"/>
                <a:cs typeface="Times New Roman" panose="02020603050405020304" pitchFamily="18" charset="0"/>
              </a:rPr>
              <a:t>marketshare</a:t>
            </a:r>
            <a:r>
              <a:rPr lang="en-AU" sz="1200">
                <a:solidFill>
                  <a:srgbClr val="363636"/>
                </a:solidFill>
                <a:effectLst/>
                <a:latin typeface="itcfranklingothicstd-book"/>
                <a:ea typeface="Calibri" panose="020F0502020204030204" pitchFamily="34" charset="0"/>
                <a:cs typeface="Times New Roman" panose="02020603050405020304" pitchFamily="18" charset="0"/>
              </a:rPr>
              <a:t> (30.62%) and is expected to grow at a significant rate over the forecast period. </a:t>
            </a:r>
            <a:endParaRPr lang="en-AU"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AU" sz="1200">
                <a:solidFill>
                  <a:srgbClr val="363636"/>
                </a:solidFill>
                <a:effectLst/>
                <a:latin typeface="itcfranklingothicstd-book"/>
                <a:ea typeface="Calibri" panose="020F0502020204030204" pitchFamily="34" charset="0"/>
                <a:cs typeface="Times New Roman" panose="02020603050405020304" pitchFamily="18" charset="0"/>
              </a:rPr>
              <a:t>The hydropower segment accounted for a significant revenue share of 16.87% in 2022. </a:t>
            </a:r>
            <a:endParaRPr lang="en-AU"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AU" sz="1200">
                <a:solidFill>
                  <a:srgbClr val="363636"/>
                </a:solidFill>
                <a:effectLst/>
                <a:latin typeface="itcfranklingothicstd-book"/>
                <a:ea typeface="Calibri" panose="020F0502020204030204" pitchFamily="34" charset="0"/>
                <a:cs typeface="Times New Roman" panose="02020603050405020304" pitchFamily="18" charset="0"/>
              </a:rPr>
              <a:t>Wind power and bioenergy segments are also expected to increase steadily over the forecast period.</a:t>
            </a:r>
            <a:endParaRPr lang="en-AU"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AU" sz="1200">
                <a:solidFill>
                  <a:srgbClr val="363636"/>
                </a:solidFill>
                <a:effectLst/>
                <a:latin typeface="itcfranklingothicstd-book"/>
                <a:ea typeface="Calibri" panose="020F0502020204030204" pitchFamily="34" charset="0"/>
                <a:cs typeface="Times New Roman" panose="02020603050405020304" pitchFamily="18" charset="0"/>
              </a:rPr>
              <a:t>China leads the wind energy market with an installed capacity of 221 GW </a:t>
            </a:r>
            <a:r>
              <a:rPr lang="en-AU" sz="1200" err="1">
                <a:solidFill>
                  <a:srgbClr val="363636"/>
                </a:solidFill>
                <a:effectLst/>
                <a:latin typeface="itcfranklingothicstd-book"/>
                <a:ea typeface="Calibri" panose="020F0502020204030204" pitchFamily="34" charset="0"/>
                <a:cs typeface="Times New Roman" panose="02020603050405020304" pitchFamily="18" charset="0"/>
              </a:rPr>
              <a:t>folloed</a:t>
            </a:r>
            <a:r>
              <a:rPr lang="en-AU" sz="1200">
                <a:solidFill>
                  <a:srgbClr val="363636"/>
                </a:solidFill>
                <a:effectLst/>
                <a:latin typeface="itcfranklingothicstd-book"/>
                <a:ea typeface="Calibri" panose="020F0502020204030204" pitchFamily="34" charset="0"/>
                <a:cs typeface="Times New Roman" panose="02020603050405020304" pitchFamily="18" charset="0"/>
              </a:rPr>
              <a:t> by the US. With 96.4 GW, Germany with 59.3 GW, India with 35 GW and Spain with 23 GW. </a:t>
            </a:r>
          </a:p>
          <a:p>
            <a:pPr marL="0" lvl="0" indent="0">
              <a:lnSpc>
                <a:spcPct val="107000"/>
              </a:lnSpc>
              <a:spcAft>
                <a:spcPts val="800"/>
              </a:spcAft>
              <a:buNone/>
            </a:pPr>
            <a:r>
              <a:rPr lang="en-AU" sz="1200" b="1" u="sng">
                <a:solidFill>
                  <a:srgbClr val="363636"/>
                </a:solidFill>
                <a:latin typeface="itcfranklingothicstd-book"/>
                <a:ea typeface="Calibri" panose="020F0502020204030204" pitchFamily="34" charset="0"/>
                <a:cs typeface="Times New Roman" panose="02020603050405020304" pitchFamily="18" charset="0"/>
              </a:rPr>
              <a:t>US Market</a:t>
            </a:r>
          </a:p>
          <a:p>
            <a:pPr>
              <a:lnSpc>
                <a:spcPct val="107000"/>
              </a:lnSpc>
              <a:spcAft>
                <a:spcPts val="800"/>
              </a:spcAft>
            </a:pPr>
            <a:r>
              <a:rPr lang="en-AU" sz="1200">
                <a:effectLst/>
                <a:latin typeface="itcfranklingothicstd-book"/>
                <a:ea typeface="Calibri" panose="020F0502020204030204" pitchFamily="34" charset="0"/>
                <a:cs typeface="Times New Roman" panose="02020603050405020304" pitchFamily="18" charset="0"/>
              </a:rPr>
              <a:t>In 2022, renewables are estimated to constitute </a:t>
            </a:r>
            <a:r>
              <a:rPr lang="en-AU" sz="1200" strike="noStrike">
                <a:effectLst/>
                <a:latin typeface="Calibri" panose="020F0502020204030204" pitchFamily="34" charset="0"/>
                <a:ea typeface="Calibri" panose="020F0502020204030204" pitchFamily="34" charset="0"/>
                <a:cs typeface="Times New Roman" panose="02020603050405020304" pitchFamily="18" charset="0"/>
              </a:rPr>
              <a:t>22% of the US electricity generation and experts predict the percentage for 2023 will be even higher.</a:t>
            </a:r>
            <a:r>
              <a:rPr lang="en-AU" sz="1200">
                <a:effectLst/>
                <a:latin typeface="Calibri" panose="020F0502020204030204" pitchFamily="34" charset="0"/>
                <a:ea typeface="Calibri" panose="020F0502020204030204" pitchFamily="34" charset="0"/>
                <a:cs typeface="Times New Roman" panose="02020603050405020304" pitchFamily="18" charset="0"/>
              </a:rPr>
              <a:t> </a:t>
            </a:r>
            <a:r>
              <a:rPr lang="en-AU" sz="1200">
                <a:effectLst/>
                <a:latin typeface="itcfranklingothicstd-book"/>
                <a:ea typeface="Calibri" panose="020F0502020204030204" pitchFamily="34" charset="0"/>
                <a:cs typeface="Times New Roman" panose="02020603050405020304" pitchFamily="18" charset="0"/>
              </a:rPr>
              <a:t>As for total renewable consumption (Industrial, Transportation, Residential, Commercial), </a:t>
            </a:r>
            <a:r>
              <a:rPr lang="en-AU" sz="1200" strike="noStrike">
                <a:effectLst/>
                <a:latin typeface="Calibri" panose="020F0502020204030204" pitchFamily="34" charset="0"/>
                <a:ea typeface="Calibri" panose="020F0502020204030204" pitchFamily="34" charset="0"/>
                <a:cs typeface="Times New Roman" panose="02020603050405020304" pitchFamily="18" charset="0"/>
              </a:rPr>
              <a:t>renewables accounted for 12.7% as the main sources of those consumptions. </a:t>
            </a:r>
            <a:endParaRPr lang="en-AU" sz="1200" strike="noStrike">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AU" sz="1200">
                <a:effectLst/>
                <a:latin typeface="itcfranklingothicstd-book"/>
                <a:ea typeface="Calibri" panose="020F0502020204030204" pitchFamily="34" charset="0"/>
                <a:cs typeface="Times New Roman" panose="02020603050405020304" pitchFamily="18" charset="0"/>
              </a:rPr>
              <a:t>There is no doubt that improvements in renewable energy infrastructure within the US, the world’s second-largest polluter behind China, are a key breakthrough that can put the world on the right path. </a:t>
            </a:r>
            <a:endParaRPr lang="en-AU" sz="12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AU" sz="1200" b="1">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3. Current state of the wind power market (global and US) </a:t>
            </a:r>
          </a:p>
        </p:txBody>
      </p:sp>
    </p:spTree>
    <p:extLst>
      <p:ext uri="{BB962C8B-B14F-4D97-AF65-F5344CB8AC3E}">
        <p14:creationId xmlns:p14="http://schemas.microsoft.com/office/powerpoint/2010/main" val="37671691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3.Trends in the US market – all source / renewable energy source  </a:t>
            </a:r>
          </a:p>
        </p:txBody>
      </p:sp>
      <p:pic>
        <p:nvPicPr>
          <p:cNvPr id="6" name="Picture 5">
            <a:extLst>
              <a:ext uri="{FF2B5EF4-FFF2-40B4-BE49-F238E27FC236}">
                <a16:creationId xmlns:a16="http://schemas.microsoft.com/office/drawing/2014/main" id="{BF5379D2-39AF-CAE3-DF3B-ABCB49B8B42D}"/>
              </a:ext>
            </a:extLst>
          </p:cNvPr>
          <p:cNvPicPr>
            <a:picLocks noChangeAspect="1"/>
          </p:cNvPicPr>
          <p:nvPr/>
        </p:nvPicPr>
        <p:blipFill>
          <a:blip r:embed="rId6"/>
          <a:stretch>
            <a:fillRect/>
          </a:stretch>
        </p:blipFill>
        <p:spPr>
          <a:xfrm>
            <a:off x="978238" y="1825625"/>
            <a:ext cx="7153275" cy="4057650"/>
          </a:xfrm>
          <a:prstGeom prst="rect">
            <a:avLst/>
          </a:prstGeom>
        </p:spPr>
      </p:pic>
    </p:spTree>
    <p:extLst>
      <p:ext uri="{BB962C8B-B14F-4D97-AF65-F5344CB8AC3E}">
        <p14:creationId xmlns:p14="http://schemas.microsoft.com/office/powerpoint/2010/main" val="1521172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486A88-8493-47B6-BB73-CB4C274BB9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09486A88-8493-47B6-BB73-CB4C274BB9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7467A666-1D86-3A83-1AD0-BC7FE7914A57}"/>
              </a:ext>
            </a:extLst>
          </p:cNvPr>
          <p:cNvSpPr>
            <a:spLocks noGrp="1"/>
          </p:cNvSpPr>
          <p:nvPr>
            <p:ph idx="1"/>
          </p:nvPr>
        </p:nvSpPr>
        <p:spPr/>
        <p:txBody>
          <a:bodyPr>
            <a:normAutofit/>
          </a:bodyPr>
          <a:lstStyle/>
          <a:p>
            <a:pPr marL="0" lvl="0" indent="0" fontAlgn="base">
              <a:spcAft>
                <a:spcPts val="1410"/>
              </a:spcAft>
              <a:buNone/>
            </a:pPr>
            <a:r>
              <a:rPr lang="en-AU" sz="1200" u="sng">
                <a:solidFill>
                  <a:srgbClr val="333333"/>
                </a:solidFill>
                <a:effectLst/>
                <a:latin typeface="Georgia" panose="02040502050405020303" pitchFamily="18" charset="0"/>
                <a:ea typeface="Times New Roman" panose="02020603050405020304" pitchFamily="18" charset="0"/>
              </a:rPr>
              <a:t>Global</a:t>
            </a:r>
          </a:p>
          <a:p>
            <a:pPr fontAlgn="base">
              <a:spcAft>
                <a:spcPts val="1410"/>
              </a:spcAft>
            </a:pPr>
            <a:r>
              <a:rPr lang="en-AU" sz="1200">
                <a:effectLst/>
                <a:latin typeface="Arial" panose="020B0604020202020204" pitchFamily="34" charset="0"/>
                <a:ea typeface="Times New Roman" panose="02020603050405020304" pitchFamily="18" charset="0"/>
              </a:rPr>
              <a:t>At the implementation-branded COP27, IRENA and its partners from Denmark and the Global Wind Energy Council (GWEC) made great strides through the </a:t>
            </a:r>
            <a:r>
              <a:rPr lang="en-AU" sz="1200">
                <a:effectLst/>
                <a:latin typeface="Arial" panose="020B0604020202020204" pitchFamily="34" charset="0"/>
                <a:ea typeface="Times New Roman" panose="02020603050405020304" pitchFamily="18" charset="0"/>
                <a:hlinkClick r:id="rId6">
                  <a:extLst>
                    <a:ext uri="{A12FA001-AC4F-418D-AE19-62706E023703}">
                      <ahyp:hlinkClr xmlns:ahyp="http://schemas.microsoft.com/office/drawing/2018/hyperlinkcolor" val="tx"/>
                    </a:ext>
                  </a:extLst>
                </a:hlinkClick>
              </a:rPr>
              <a:t>launch of the Global Offshore Wind Alliance</a:t>
            </a:r>
            <a:r>
              <a:rPr lang="en-AU" sz="1200">
                <a:effectLst/>
                <a:latin typeface="Arial" panose="020B0604020202020204" pitchFamily="34" charset="0"/>
                <a:ea typeface="Times New Roman" panose="02020603050405020304" pitchFamily="18" charset="0"/>
              </a:rPr>
              <a:t>. Australia, Belgium, Colombia, Germany, Ireland, Japan, the Netherlands, Norway, Portugal, the United Kingdom, and the United States joined the Alliance. IRENA estimates that by 2030, offshore wind could supply 24 per cent of total power needs globally.</a:t>
            </a:r>
            <a:endParaRPr lang="en-AU" sz="1200">
              <a:solidFill>
                <a:srgbClr val="333333"/>
              </a:solidFill>
              <a:effectLst/>
              <a:latin typeface="Georgia" panose="02040502050405020303" pitchFamily="18" charset="0"/>
              <a:ea typeface="Times New Roman" panose="02020603050405020304" pitchFamily="18" charset="0"/>
            </a:endParaRPr>
          </a:p>
          <a:p>
            <a:pPr marL="0" lvl="0" indent="0" fontAlgn="base">
              <a:spcAft>
                <a:spcPts val="1410"/>
              </a:spcAft>
              <a:buNone/>
            </a:pPr>
            <a:r>
              <a:rPr lang="en-AU" sz="1200" u="sng">
                <a:solidFill>
                  <a:srgbClr val="333333"/>
                </a:solidFill>
                <a:effectLst/>
                <a:latin typeface="Georgia" panose="02040502050405020303" pitchFamily="18" charset="0"/>
                <a:ea typeface="Times New Roman" panose="02020603050405020304" pitchFamily="18" charset="0"/>
              </a:rPr>
              <a:t>US</a:t>
            </a:r>
          </a:p>
          <a:p>
            <a:pPr marL="342900" lvl="0" indent="-342900" fontAlgn="base">
              <a:spcAft>
                <a:spcPts val="1410"/>
              </a:spcAft>
              <a:buFont typeface="Symbol" panose="05050102010706020507" pitchFamily="18" charset="2"/>
              <a:buChar char=""/>
            </a:pPr>
            <a:r>
              <a:rPr lang="en-AU" sz="1200">
                <a:solidFill>
                  <a:srgbClr val="333333"/>
                </a:solidFill>
                <a:effectLst/>
                <a:latin typeface="Georgia" panose="02040502050405020303" pitchFamily="18" charset="0"/>
                <a:ea typeface="Times New Roman" panose="02020603050405020304" pitchFamily="18" charset="0"/>
              </a:rPr>
              <a:t>The Biden administration plans to eliminate fossil fuels as a form of energy generation in the U.S. by 2035. The White House set out a target of 80% renewable energy generation by 2030 and 100% carbon-free electricity five years later.</a:t>
            </a:r>
            <a:endParaRPr lang="en-AU" sz="1200">
              <a:effectLst/>
              <a:latin typeface="Times New Roman" panose="02020603050405020304" pitchFamily="18" charset="0"/>
              <a:ea typeface="Times New Roman" panose="02020603050405020304" pitchFamily="18" charset="0"/>
            </a:endParaRPr>
          </a:p>
          <a:p>
            <a:pPr marL="342900" lvl="0" indent="-342900" algn="l" fontAlgn="base">
              <a:buFont typeface="Symbol" panose="05050102010706020507" pitchFamily="18" charset="2"/>
              <a:buChar char=""/>
            </a:pPr>
            <a:r>
              <a:rPr lang="en-AU" sz="1200">
                <a:effectLst/>
                <a:latin typeface="Georgia" panose="02040502050405020303" pitchFamily="18" charset="0"/>
                <a:ea typeface="Times New Roman" panose="02020603050405020304" pitchFamily="18" charset="0"/>
              </a:rPr>
              <a:t>With 79% of total U.S. energy production still coming </a:t>
            </a:r>
            <a:r>
              <a:rPr lang="en-AU" sz="1200" u="sng">
                <a:effectLst/>
                <a:latin typeface="Georgia" panose="02040502050405020303" pitchFamily="18" charset="0"/>
                <a:ea typeface="Times New Roman" panose="02020603050405020304" pitchFamily="18" charset="0"/>
              </a:rPr>
              <a:t>from fossil fuel sources as of 2021</a:t>
            </a:r>
            <a:r>
              <a:rPr lang="en-AU" sz="1200">
                <a:effectLst/>
                <a:latin typeface="Georgia" panose="02040502050405020303" pitchFamily="18" charset="0"/>
                <a:ea typeface="Times New Roman" panose="02020603050405020304" pitchFamily="18" charset="0"/>
              </a:rPr>
              <a:t>, achieving this goal will require billions of dollars in investments</a:t>
            </a:r>
            <a:endParaRPr lang="en-AU" sz="1200">
              <a:effectLst/>
              <a:latin typeface="Times New Roman" panose="02020603050405020304" pitchFamily="18" charset="0"/>
              <a:ea typeface="Times New Roman" panose="02020603050405020304" pitchFamily="18" charset="0"/>
            </a:endParaRPr>
          </a:p>
          <a:p>
            <a:pPr marL="342900" lvl="0" indent="-342900" fontAlgn="base">
              <a:buFont typeface="Symbol" panose="05050102010706020507" pitchFamily="18" charset="2"/>
              <a:buChar char=""/>
            </a:pPr>
            <a:r>
              <a:rPr lang="en-AU" sz="1200">
                <a:effectLst/>
                <a:latin typeface="Arial" panose="020B0604020202020204" pitchFamily="34" charset="0"/>
                <a:ea typeface="Times New Roman" panose="02020603050405020304" pitchFamily="18" charset="0"/>
              </a:rPr>
              <a:t>As directed by President Biden’s Executive Order 14008, </a:t>
            </a:r>
            <a:r>
              <a:rPr lang="en-AU" sz="1200" i="1" u="sng">
                <a:effectLst/>
                <a:latin typeface="Arial" panose="020B0604020202020204" pitchFamily="34" charset="0"/>
                <a:ea typeface="Times New Roman" panose="02020603050405020304" pitchFamily="18" charset="0"/>
              </a:rPr>
              <a:t>Tackling the Climate Crisis at Home and Abroad</a:t>
            </a:r>
            <a:r>
              <a:rPr lang="en-AU" sz="1200">
                <a:effectLst/>
                <a:latin typeface="Times New Roman" panose="02020603050405020304" pitchFamily="18" charset="0"/>
                <a:ea typeface="Times New Roman" panose="02020603050405020304" pitchFamily="18" charset="0"/>
              </a:rPr>
              <a:t>, the Interior Department has partnered with other federal agencies to increase renewable energy production on public lands and waters —including </a:t>
            </a:r>
            <a:r>
              <a:rPr lang="en-AU" sz="1200" u="sng">
                <a:effectLst/>
                <a:latin typeface="Arial" panose="020B0604020202020204" pitchFamily="34" charset="0"/>
                <a:ea typeface="Times New Roman" panose="02020603050405020304" pitchFamily="18" charset="0"/>
              </a:rPr>
              <a:t>a commitment to deploy 30 gigawatts</a:t>
            </a:r>
            <a:r>
              <a:rPr lang="en-AU" sz="1200">
                <a:effectLst/>
                <a:latin typeface="Arial" panose="020B0604020202020204" pitchFamily="34" charset="0"/>
                <a:ea typeface="Times New Roman" panose="02020603050405020304" pitchFamily="18" charset="0"/>
              </a:rPr>
              <a:t> of offshore wind by 2030, 15 gigawatts of floating offshore wind by 2035, and a target goal of permitting at least 25 gigawatts of onshore renewable energy by 2025.</a:t>
            </a:r>
          </a:p>
          <a:p>
            <a:pPr marL="0" lvl="0" indent="0" fontAlgn="base">
              <a:buNone/>
            </a:pPr>
            <a:endParaRPr lang="en-AU" sz="1200">
              <a:effectLst/>
              <a:latin typeface="Times New Roman" panose="02020603050405020304" pitchFamily="18" charset="0"/>
              <a:ea typeface="Times New Roman" panose="02020603050405020304" pitchFamily="18" charset="0"/>
            </a:endParaRPr>
          </a:p>
        </p:txBody>
      </p:sp>
      <p:sp>
        <p:nvSpPr>
          <p:cNvPr id="4" name="Title 1">
            <a:extLst>
              <a:ext uri="{FF2B5EF4-FFF2-40B4-BE49-F238E27FC236}">
                <a16:creationId xmlns:a16="http://schemas.microsoft.com/office/drawing/2014/main" id="{F248D9AB-6A03-9C50-3FF5-0FE9EF1A73DC}"/>
              </a:ext>
            </a:extLst>
          </p:cNvPr>
          <p:cNvSpPr txBox="1">
            <a:spLocks/>
          </p:cNvSpPr>
          <p:nvPr/>
        </p:nvSpPr>
        <p:spPr>
          <a:xfrm>
            <a:off x="838200" y="50006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3. Future outlook  </a:t>
            </a:r>
          </a:p>
        </p:txBody>
      </p:sp>
    </p:spTree>
    <p:extLst>
      <p:ext uri="{BB962C8B-B14F-4D97-AF65-F5344CB8AC3E}">
        <p14:creationId xmlns:p14="http://schemas.microsoft.com/office/powerpoint/2010/main" val="15818906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A6E68E-140D-18AB-9921-ECA08E14FBD1}"/>
              </a:ext>
            </a:extLst>
          </p:cNvPr>
          <p:cNvGraphicFramePr>
            <a:graphicFrameLocks noChangeAspect="1"/>
          </p:cNvGraphicFramePr>
          <p:nvPr>
            <p:custDataLst>
              <p:tags r:id="rId2"/>
            </p:custDataLst>
            <p:extLst>
              <p:ext uri="{D42A27DB-BD31-4B8C-83A1-F6EECF244321}">
                <p14:modId xmlns:p14="http://schemas.microsoft.com/office/powerpoint/2010/main" val="108379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4" imgW="592" imgH="591" progId="TCLayout.ActiveDocument.1">
                  <p:embed/>
                </p:oleObj>
              </mc:Choice>
              <mc:Fallback>
                <p:oleObj name="think-cell Slide" r:id="rId4" imgW="592" imgH="591" progId="TCLayout.ActiveDocument.1">
                  <p:embed/>
                  <p:pic>
                    <p:nvPicPr>
                      <p:cNvPr id="5" name="think-cell data - do not delete" hidden="1">
                        <a:extLst>
                          <a:ext uri="{FF2B5EF4-FFF2-40B4-BE49-F238E27FC236}">
                            <a16:creationId xmlns:a16="http://schemas.microsoft.com/office/drawing/2014/main" id="{53A6E68E-140D-18AB-9921-ECA08E14FB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Content Placeholder 3" descr="A map of the united states with numbers and colored circles&#10;&#10;Description automatically generated">
            <a:extLst>
              <a:ext uri="{FF2B5EF4-FFF2-40B4-BE49-F238E27FC236}">
                <a16:creationId xmlns:a16="http://schemas.microsoft.com/office/drawing/2014/main" id="{3A12E1D0-55DA-039C-CF20-2C354D34F8D7}"/>
              </a:ext>
            </a:extLst>
          </p:cNvPr>
          <p:cNvPicPr>
            <a:picLocks noGrp="1" noChangeAspect="1"/>
          </p:cNvPicPr>
          <p:nvPr>
            <p:ph idx="1"/>
          </p:nvPr>
        </p:nvPicPr>
        <p:blipFill>
          <a:blip r:embed="rId6"/>
          <a:stretch>
            <a:fillRect/>
          </a:stretch>
        </p:blipFill>
        <p:spPr>
          <a:xfrm>
            <a:off x="1499899" y="255278"/>
            <a:ext cx="8746504" cy="6606236"/>
          </a:xfrm>
          <a:prstGeom prst="rect">
            <a:avLst/>
          </a:prstGeom>
        </p:spPr>
      </p:pic>
    </p:spTree>
    <p:extLst>
      <p:ext uri="{BB962C8B-B14F-4D97-AF65-F5344CB8AC3E}">
        <p14:creationId xmlns:p14="http://schemas.microsoft.com/office/powerpoint/2010/main" val="16568212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screenshot of a graph&#10;&#10;Description automatically generated">
            <a:extLst>
              <a:ext uri="{FF2B5EF4-FFF2-40B4-BE49-F238E27FC236}">
                <a16:creationId xmlns:a16="http://schemas.microsoft.com/office/drawing/2014/main" id="{13BA3828-A2A3-26BD-7767-DB4D69F23BE6}"/>
              </a:ext>
            </a:extLst>
          </p:cNvPr>
          <p:cNvPicPr>
            <a:picLocks noChangeAspect="1"/>
          </p:cNvPicPr>
          <p:nvPr/>
        </p:nvPicPr>
        <p:blipFill>
          <a:blip r:embed="rId2"/>
          <a:stretch>
            <a:fillRect/>
          </a:stretch>
        </p:blipFill>
        <p:spPr>
          <a:xfrm>
            <a:off x="2688621" y="643467"/>
            <a:ext cx="6814758" cy="5571065"/>
          </a:xfrm>
          <a:prstGeom prst="rect">
            <a:avLst/>
          </a:prstGeom>
          <a:ln>
            <a:noFill/>
          </a:ln>
        </p:spPr>
      </p:pic>
      <p:sp>
        <p:nvSpPr>
          <p:cNvPr id="5" name="Title 4">
            <a:extLst>
              <a:ext uri="{FF2B5EF4-FFF2-40B4-BE49-F238E27FC236}">
                <a16:creationId xmlns:a16="http://schemas.microsoft.com/office/drawing/2014/main" id="{95B468EE-A229-769A-D964-405494E0C075}"/>
              </a:ext>
            </a:extLst>
          </p:cNvPr>
          <p:cNvSpPr>
            <a:spLocks noGrp="1"/>
          </p:cNvSpPr>
          <p:nvPr>
            <p:ph type="title"/>
          </p:nvPr>
        </p:nvSpPr>
        <p:spPr>
          <a:xfrm>
            <a:off x="219974" y="192597"/>
            <a:ext cx="2464280" cy="1325563"/>
          </a:xfrm>
        </p:spPr>
        <p:txBody>
          <a:bodyPr/>
          <a:lstStyle/>
          <a:p>
            <a:r>
              <a:rPr lang="en-US">
                <a:cs typeface="Calibri Light"/>
              </a:rPr>
              <a:t>Q14-16</a:t>
            </a:r>
          </a:p>
        </p:txBody>
      </p:sp>
    </p:spTree>
    <p:extLst>
      <p:ext uri="{BB962C8B-B14F-4D97-AF65-F5344CB8AC3E}">
        <p14:creationId xmlns:p14="http://schemas.microsoft.com/office/powerpoint/2010/main" val="38729874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23966-9DB5-2D4B-9D15-239FC540309A}"/>
              </a:ext>
            </a:extLst>
          </p:cNvPr>
          <p:cNvSpPr>
            <a:spLocks noGrp="1"/>
          </p:cNvSpPr>
          <p:nvPr>
            <p:ph type="ctrTitle" idx="4294967295"/>
          </p:nvPr>
        </p:nvSpPr>
        <p:spPr>
          <a:xfrm>
            <a:off x="1524000" y="1122363"/>
            <a:ext cx="9144000" cy="2387600"/>
          </a:xfrm>
        </p:spPr>
        <p:txBody>
          <a:bodyPr/>
          <a:lstStyle/>
          <a:p>
            <a:endParaRPr lang="en-US"/>
          </a:p>
        </p:txBody>
      </p:sp>
      <p:sp>
        <p:nvSpPr>
          <p:cNvPr id="3" name="Subtitle 2">
            <a:extLst>
              <a:ext uri="{FF2B5EF4-FFF2-40B4-BE49-F238E27FC236}">
                <a16:creationId xmlns:a16="http://schemas.microsoft.com/office/drawing/2014/main" id="{22AEB27D-B1B8-8472-762F-5B5887B8E617}"/>
              </a:ext>
            </a:extLst>
          </p:cNvPr>
          <p:cNvSpPr>
            <a:spLocks noGrp="1"/>
          </p:cNvSpPr>
          <p:nvPr>
            <p:ph type="subTitle" idx="4294967295"/>
          </p:nvPr>
        </p:nvSpPr>
        <p:spPr>
          <a:xfrm>
            <a:off x="1524000" y="3602038"/>
            <a:ext cx="9144000" cy="1655762"/>
          </a:xfrm>
        </p:spPr>
        <p:txBody>
          <a:bodyPr/>
          <a:lstStyle/>
          <a:p>
            <a:endParaRPr lang="en-US"/>
          </a:p>
        </p:txBody>
      </p:sp>
      <p:pic>
        <p:nvPicPr>
          <p:cNvPr id="4" name="Picture 3">
            <a:extLst>
              <a:ext uri="{FF2B5EF4-FFF2-40B4-BE49-F238E27FC236}">
                <a16:creationId xmlns:a16="http://schemas.microsoft.com/office/drawing/2014/main" id="{8BD1715E-4B1B-8242-285E-5E5001F0D3FA}"/>
              </a:ext>
            </a:extLst>
          </p:cNvPr>
          <p:cNvPicPr>
            <a:picLocks noChangeAspect="1"/>
          </p:cNvPicPr>
          <p:nvPr/>
        </p:nvPicPr>
        <p:blipFill>
          <a:blip r:embed="rId2"/>
          <a:stretch>
            <a:fillRect/>
          </a:stretch>
        </p:blipFill>
        <p:spPr>
          <a:xfrm>
            <a:off x="382439" y="745997"/>
            <a:ext cx="11197085" cy="5725442"/>
          </a:xfrm>
          <a:prstGeom prst="rect">
            <a:avLst/>
          </a:prstGeom>
        </p:spPr>
      </p:pic>
    </p:spTree>
    <p:extLst>
      <p:ext uri="{BB962C8B-B14F-4D97-AF65-F5344CB8AC3E}">
        <p14:creationId xmlns:p14="http://schemas.microsoft.com/office/powerpoint/2010/main" val="40725282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C2DC4-A19D-0A0C-D90E-E7A5328AD5DF}"/>
              </a:ext>
            </a:extLst>
          </p:cNvPr>
          <p:cNvSpPr>
            <a:spLocks noGrp="1"/>
          </p:cNvSpPr>
          <p:nvPr>
            <p:ph type="title"/>
          </p:nvPr>
        </p:nvSpPr>
        <p:spPr/>
        <p:txBody>
          <a:bodyPr/>
          <a:lstStyle/>
          <a:p>
            <a:r>
              <a:rPr lang="en-US">
                <a:cs typeface="Calibri Light"/>
              </a:rPr>
              <a:t>Q15</a:t>
            </a:r>
          </a:p>
        </p:txBody>
      </p:sp>
      <p:pic>
        <p:nvPicPr>
          <p:cNvPr id="4" name="Content Placeholder 3" descr="A map of the united states&#10;&#10;Description automatically generated">
            <a:extLst>
              <a:ext uri="{FF2B5EF4-FFF2-40B4-BE49-F238E27FC236}">
                <a16:creationId xmlns:a16="http://schemas.microsoft.com/office/drawing/2014/main" id="{CD3C29A8-E217-8E3F-1060-2106FC8EBD3D}"/>
              </a:ext>
            </a:extLst>
          </p:cNvPr>
          <p:cNvPicPr>
            <a:picLocks noGrp="1" noChangeAspect="1"/>
          </p:cNvPicPr>
          <p:nvPr>
            <p:ph idx="1"/>
          </p:nvPr>
        </p:nvPicPr>
        <p:blipFill>
          <a:blip r:embed="rId2"/>
          <a:stretch>
            <a:fillRect/>
          </a:stretch>
        </p:blipFill>
        <p:spPr>
          <a:xfrm>
            <a:off x="3348943" y="1825625"/>
            <a:ext cx="5494114" cy="4351338"/>
          </a:xfrm>
        </p:spPr>
      </p:pic>
    </p:spTree>
    <p:extLst>
      <p:ext uri="{BB962C8B-B14F-4D97-AF65-F5344CB8AC3E}">
        <p14:creationId xmlns:p14="http://schemas.microsoft.com/office/powerpoint/2010/main" val="33522783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B84F5D-2E84-67DB-C70F-370ADA0A6A5E}"/>
              </a:ext>
            </a:extLst>
          </p:cNvPr>
          <p:cNvGraphicFramePr>
            <a:graphicFrameLocks noChangeAspect="1"/>
          </p:cNvGraphicFramePr>
          <p:nvPr>
            <p:custDataLst>
              <p:tags r:id="rId2"/>
            </p:custDataLst>
            <p:extLst>
              <p:ext uri="{D42A27DB-BD31-4B8C-83A1-F6EECF244321}">
                <p14:modId xmlns:p14="http://schemas.microsoft.com/office/powerpoint/2010/main" val="312109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1B84F5D-2E84-67DB-C70F-370ADA0A6A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42C7D5-2986-B5ED-D34E-E894878277D3}"/>
              </a:ext>
            </a:extLst>
          </p:cNvPr>
          <p:cNvSpPr>
            <a:spLocks noGrp="1"/>
          </p:cNvSpPr>
          <p:nvPr>
            <p:ph type="title"/>
          </p:nvPr>
        </p:nvSpPr>
        <p:spPr/>
        <p:txBody>
          <a:bodyPr vert="horz"/>
          <a:lstStyle/>
          <a:p>
            <a:r>
              <a:rPr lang="en-AU"/>
              <a:t>8</a:t>
            </a:r>
          </a:p>
        </p:txBody>
      </p:sp>
      <p:pic>
        <p:nvPicPr>
          <p:cNvPr id="5" name="Content Placeholder 4" descr="A screenshot of a graph&#10;&#10;Description automatically generated">
            <a:extLst>
              <a:ext uri="{FF2B5EF4-FFF2-40B4-BE49-F238E27FC236}">
                <a16:creationId xmlns:a16="http://schemas.microsoft.com/office/drawing/2014/main" id="{76507ACF-EE59-04D4-509B-CB6401DFEC43}"/>
              </a:ext>
            </a:extLst>
          </p:cNvPr>
          <p:cNvPicPr>
            <a:picLocks noGrp="1" noChangeAspect="1"/>
          </p:cNvPicPr>
          <p:nvPr>
            <p:ph idx="1"/>
          </p:nvPr>
        </p:nvPicPr>
        <p:blipFill>
          <a:blip r:embed="rId6"/>
          <a:stretch>
            <a:fillRect/>
          </a:stretch>
        </p:blipFill>
        <p:spPr>
          <a:xfrm>
            <a:off x="1387822" y="455090"/>
            <a:ext cx="10476179" cy="5873117"/>
          </a:xfrm>
        </p:spPr>
      </p:pic>
    </p:spTree>
    <p:extLst>
      <p:ext uri="{BB962C8B-B14F-4D97-AF65-F5344CB8AC3E}">
        <p14:creationId xmlns:p14="http://schemas.microsoft.com/office/powerpoint/2010/main" val="647445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248BC43-3F42-780D-7B75-1AA5DF8C3964}"/>
              </a:ext>
            </a:extLst>
          </p:cNvPr>
          <p:cNvPicPr>
            <a:picLocks noGrp="1" noChangeAspect="1"/>
          </p:cNvPicPr>
          <p:nvPr>
            <p:ph idx="1"/>
          </p:nvPr>
        </p:nvPicPr>
        <p:blipFill>
          <a:blip r:embed="rId2"/>
          <a:stretch>
            <a:fillRect/>
          </a:stretch>
        </p:blipFill>
        <p:spPr>
          <a:xfrm>
            <a:off x="3968261" y="701323"/>
            <a:ext cx="7385539" cy="5912967"/>
          </a:xfrm>
        </p:spPr>
      </p:pic>
      <p:sp>
        <p:nvSpPr>
          <p:cNvPr id="6" name="Title 1">
            <a:extLst>
              <a:ext uri="{FF2B5EF4-FFF2-40B4-BE49-F238E27FC236}">
                <a16:creationId xmlns:a16="http://schemas.microsoft.com/office/drawing/2014/main" id="{DC3A30B4-E56A-7CB0-4D1F-36DC5C636394}"/>
              </a:ext>
            </a:extLst>
          </p:cNvPr>
          <p:cNvSpPr>
            <a:spLocks noGrp="1"/>
          </p:cNvSpPr>
          <p:nvPr>
            <p:ph type="title"/>
          </p:nvPr>
        </p:nvSpPr>
        <p:spPr>
          <a:xfrm>
            <a:off x="838200" y="365125"/>
            <a:ext cx="10515600" cy="1325563"/>
          </a:xfrm>
        </p:spPr>
        <p:txBody>
          <a:bodyPr vert="horz"/>
          <a:lstStyle/>
          <a:p>
            <a:r>
              <a:rPr lang="en-AU"/>
              <a:t>8 cont.</a:t>
            </a:r>
          </a:p>
        </p:txBody>
      </p:sp>
    </p:spTree>
    <p:extLst>
      <p:ext uri="{BB962C8B-B14F-4D97-AF65-F5344CB8AC3E}">
        <p14:creationId xmlns:p14="http://schemas.microsoft.com/office/powerpoint/2010/main" val="1497786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156317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17" imgW="592" imgH="591" progId="TCLayout.ActiveDocument.1">
                  <p:embed/>
                </p:oleObj>
              </mc:Choice>
              <mc:Fallback>
                <p:oleObj name="think-cell Slide" r:id="rId17"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US Wind Turbine Market | </a:t>
            </a:r>
            <a:r>
              <a:rPr lang="en-AU" sz="2400">
                <a:solidFill>
                  <a:schemeClr val="accent1"/>
                </a:solidFill>
                <a:latin typeface="Segoe UI Light" panose="020B0502040204020203" pitchFamily="34" charset="0"/>
                <a:cs typeface="Segoe UI Light" panose="020B0502040204020203" pitchFamily="34" charset="0"/>
              </a:rPr>
              <a:t>US Market</a:t>
            </a:r>
          </a:p>
        </p:txBody>
      </p:sp>
      <p:sp>
        <p:nvSpPr>
          <p:cNvPr id="2" name="Rounded Rectangle 61">
            <a:extLst>
              <a:ext uri="{FF2B5EF4-FFF2-40B4-BE49-F238E27FC236}">
                <a16:creationId xmlns:a16="http://schemas.microsoft.com/office/drawing/2014/main" id="{9F9FFE4E-88D2-7BEE-BA46-490D539EC4BF}"/>
              </a:ext>
            </a:extLst>
          </p:cNvPr>
          <p:cNvSpPr/>
          <p:nvPr/>
        </p:nvSpPr>
        <p:spPr bwMode="gray">
          <a:xfrm>
            <a:off x="6630889"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Renewable Energy Sources | Net Generation (‘000 MWh)</a:t>
            </a:r>
          </a:p>
        </p:txBody>
      </p:sp>
      <p:sp>
        <p:nvSpPr>
          <p:cNvPr id="3" name="Freeform 584">
            <a:extLst>
              <a:ext uri="{FF2B5EF4-FFF2-40B4-BE49-F238E27FC236}">
                <a16:creationId xmlns:a16="http://schemas.microsoft.com/office/drawing/2014/main" id="{D9C48D54-197D-910F-9A56-7FA2F90C85F6}"/>
              </a:ext>
            </a:extLst>
          </p:cNvPr>
          <p:cNvSpPr>
            <a:spLocks noChangeAspect="1" noEditPoints="1"/>
          </p:cNvSpPr>
          <p:nvPr/>
        </p:nvSpPr>
        <p:spPr bwMode="auto">
          <a:xfrm>
            <a:off x="6480076" y="1619659"/>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7" name="TextBox 6">
            <a:extLst>
              <a:ext uri="{FF2B5EF4-FFF2-40B4-BE49-F238E27FC236}">
                <a16:creationId xmlns:a16="http://schemas.microsoft.com/office/drawing/2014/main" id="{6ED8FD5A-7485-7BA2-4AAE-BA55DE6E721F}"/>
              </a:ext>
            </a:extLst>
          </p:cNvPr>
          <p:cNvSpPr txBox="1"/>
          <p:nvPr/>
        </p:nvSpPr>
        <p:spPr>
          <a:xfrm>
            <a:off x="596901" y="2095304"/>
            <a:ext cx="5048350" cy="2492990"/>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As a result of current government policies and lower wind costs, the US has grown its wind capacity by an average growth rate of 11.3% from 2011 to 2021.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Wind energy currently generates over 9% of national electricity, and more than 50% in states such as Iowa and South Dakota.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In the US, Wind energy surpassed Conventional Hydroelectric as the leader in renewable energy source of energy generation in 2019 and has continued to increase year on year whilst Conventional Hydroelectric has gone on a decline in output.</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92075" indent="-9207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sp>
        <p:nvSpPr>
          <p:cNvPr id="8" name="Rounded Rectangle 61">
            <a:extLst>
              <a:ext uri="{FF2B5EF4-FFF2-40B4-BE49-F238E27FC236}">
                <a16:creationId xmlns:a16="http://schemas.microsoft.com/office/drawing/2014/main" id="{9F7B95B8-AC36-6F99-57AD-248FF243E3A7}"/>
              </a:ext>
            </a:extLst>
          </p:cNvPr>
          <p:cNvSpPr/>
          <p:nvPr/>
        </p:nvSpPr>
        <p:spPr bwMode="gray">
          <a:xfrm>
            <a:off x="614757"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US Wind Turbine Market </a:t>
            </a:r>
          </a:p>
        </p:txBody>
      </p:sp>
      <p:graphicFrame>
        <p:nvGraphicFramePr>
          <p:cNvPr id="215" name="Chart 214">
            <a:extLst>
              <a:ext uri="{FF2B5EF4-FFF2-40B4-BE49-F238E27FC236}">
                <a16:creationId xmlns:a16="http://schemas.microsoft.com/office/drawing/2014/main" id="{116C5CC0-3A94-19CE-0406-6C9676DDA4BD}"/>
              </a:ext>
            </a:extLst>
          </p:cNvPr>
          <p:cNvGraphicFramePr/>
          <p:nvPr>
            <p:custDataLst>
              <p:tags r:id="rId3"/>
            </p:custDataLst>
            <p:extLst>
              <p:ext uri="{D42A27DB-BD31-4B8C-83A1-F6EECF244321}">
                <p14:modId xmlns:p14="http://schemas.microsoft.com/office/powerpoint/2010/main" val="879524407"/>
              </p:ext>
            </p:extLst>
          </p:nvPr>
        </p:nvGraphicFramePr>
        <p:xfrm>
          <a:off x="6954838" y="2319338"/>
          <a:ext cx="4895850" cy="2181225"/>
        </p:xfrm>
        <a:graphic>
          <a:graphicData uri="http://schemas.openxmlformats.org/drawingml/2006/chart">
            <c:chart xmlns:c="http://schemas.openxmlformats.org/drawingml/2006/chart" xmlns:r="http://schemas.openxmlformats.org/officeDocument/2006/relationships" r:id="rId19"/>
          </a:graphicData>
        </a:graphic>
      </p:graphicFrame>
      <p:sp>
        <p:nvSpPr>
          <p:cNvPr id="138" name="Text Placeholder 2">
            <a:extLst>
              <a:ext uri="{FF2B5EF4-FFF2-40B4-BE49-F238E27FC236}">
                <a16:creationId xmlns:a16="http://schemas.microsoft.com/office/drawing/2014/main" id="{157E2803-2BF7-ABD7-C482-D7A3AD0399C5}"/>
              </a:ext>
            </a:extLst>
          </p:cNvPr>
          <p:cNvSpPr>
            <a:spLocks noGrp="1"/>
          </p:cNvSpPr>
          <p:nvPr>
            <p:custDataLst>
              <p:tags r:id="rId4"/>
            </p:custDataLst>
          </p:nvPr>
        </p:nvSpPr>
        <p:spPr bwMode="gray">
          <a:xfrm>
            <a:off x="7062788" y="3979863"/>
            <a:ext cx="777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FCAB85D-26C6-49C9-8DCE-E99A541AA7D7}" type="datetime'''''0'''''''''''''''''''''">
              <a:rPr lang="en-AU" altLang="en-US" sz="1200" smtClean="0">
                <a:effectLst/>
              </a:rPr>
              <a:pPr marL="0" lvl="0" indent="0" algn="r">
                <a:spcBef>
                  <a:spcPct val="0"/>
                </a:spcBef>
                <a:spcAft>
                  <a:spcPct val="0"/>
                </a:spcAft>
                <a:buNone/>
              </a:pPr>
              <a:t>0</a:t>
            </a:fld>
            <a:endParaRPr lang="en-AU" sz="1200"/>
          </a:p>
        </p:txBody>
      </p:sp>
      <p:cxnSp>
        <p:nvCxnSpPr>
          <p:cNvPr id="196" name="Straight Connector 195">
            <a:extLst>
              <a:ext uri="{FF2B5EF4-FFF2-40B4-BE49-F238E27FC236}">
                <a16:creationId xmlns:a16="http://schemas.microsoft.com/office/drawing/2014/main" id="{94C731A5-5C8F-C14C-9735-200D38167901}"/>
              </a:ext>
            </a:extLst>
          </p:cNvPr>
          <p:cNvCxnSpPr/>
          <p:nvPr>
            <p:custDataLst>
              <p:tags r:id="rId5"/>
            </p:custDataLst>
          </p:nvPr>
        </p:nvCxnSpPr>
        <p:spPr bwMode="auto">
          <a:xfrm>
            <a:off x="11512550" y="3714750"/>
            <a:ext cx="0" cy="41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14" name="Text Placeholder 2">
            <a:extLst>
              <a:ext uri="{FF2B5EF4-FFF2-40B4-BE49-F238E27FC236}">
                <a16:creationId xmlns:a16="http://schemas.microsoft.com/office/drawing/2014/main" id="{157E2803-2BF7-ABD7-C482-D7A3AD0399C5}"/>
              </a:ext>
            </a:extLst>
          </p:cNvPr>
          <p:cNvSpPr>
            <a:spLocks noGrp="1"/>
          </p:cNvSpPr>
          <p:nvPr>
            <p:custDataLst>
              <p:tags r:id="rId6"/>
            </p:custDataLst>
          </p:nvPr>
        </p:nvSpPr>
        <p:spPr bwMode="gray">
          <a:xfrm>
            <a:off x="11274425" y="3549650"/>
            <a:ext cx="477838" cy="165100"/>
          </a:xfrm>
          <a:prstGeom prst="rect">
            <a:avLst/>
          </a:prstGeom>
          <a:ln>
            <a:noFill/>
          </a:ln>
          <a:effec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D1C7D8-1FF3-439A-9D80-36173DF1BF16}" type="datetime'7''''3'''''''''''',15''''''''''''''''''''''''''''''''1'''">
              <a:rPr lang="en-AU" altLang="en-US" sz="1200" smtClean="0">
                <a:effectLst/>
              </a:rPr>
              <a:pPr marL="0" lvl="0" indent="0" algn="ctr">
                <a:spcBef>
                  <a:spcPct val="0"/>
                </a:spcBef>
                <a:spcAft>
                  <a:spcPct val="0"/>
                </a:spcAft>
                <a:buNone/>
              </a:pPr>
              <a:t>73,151</a:t>
            </a:fld>
            <a:endParaRPr lang="en-AU" sz="1200"/>
          </a:p>
        </p:txBody>
      </p:sp>
      <p:cxnSp>
        <p:nvCxnSpPr>
          <p:cNvPr id="62" name="Straight Connector 61">
            <a:extLst>
              <a:ext uri="{FF2B5EF4-FFF2-40B4-BE49-F238E27FC236}">
                <a16:creationId xmlns:a16="http://schemas.microsoft.com/office/drawing/2014/main" id="{0E54DF90-44CF-BF83-D7B3-8EFD668423C5}"/>
              </a:ext>
            </a:extLst>
          </p:cNvPr>
          <p:cNvCxnSpPr/>
          <p:nvPr>
            <p:custDataLst>
              <p:tags r:id="rId7"/>
            </p:custDataLst>
          </p:nvPr>
        </p:nvCxnSpPr>
        <p:spPr bwMode="gray">
          <a:xfrm>
            <a:off x="7854950" y="4570413"/>
            <a:ext cx="185738" cy="0"/>
          </a:xfrm>
          <a:prstGeom prst="line">
            <a:avLst/>
          </a:prstGeom>
          <a:ln w="28575" cap="rnd" cmpd="sng" algn="ctr">
            <a:solidFill>
              <a:srgbClr val="20386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2A9A0987-69A3-41CE-E762-ECCE8CF9931D}"/>
              </a:ext>
            </a:extLst>
          </p:cNvPr>
          <p:cNvCxnSpPr/>
          <p:nvPr>
            <p:custDataLst>
              <p:tags r:id="rId8"/>
            </p:custDataLst>
          </p:nvPr>
        </p:nvCxnSpPr>
        <p:spPr bwMode="gray">
          <a:xfrm>
            <a:off x="7854950" y="4794250"/>
            <a:ext cx="185738" cy="0"/>
          </a:xfrm>
          <a:prstGeom prst="line">
            <a:avLst/>
          </a:prstGeom>
          <a:ln w="28575" cap="rnd" cmpd="sng" algn="ctr">
            <a:solidFill>
              <a:srgbClr val="00ABA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5CAD834A-2749-DD0F-D221-D85C293C5FF8}"/>
              </a:ext>
            </a:extLst>
          </p:cNvPr>
          <p:cNvCxnSpPr/>
          <p:nvPr>
            <p:custDataLst>
              <p:tags r:id="rId9"/>
            </p:custDataLst>
          </p:nvPr>
        </p:nvCxnSpPr>
        <p:spPr bwMode="gray">
          <a:xfrm>
            <a:off x="9898063" y="4570413"/>
            <a:ext cx="185738" cy="0"/>
          </a:xfrm>
          <a:prstGeom prst="line">
            <a:avLst/>
          </a:prstGeom>
          <a:ln w="28575" cap="rnd" cmpd="sng" algn="ctr">
            <a:solidFill>
              <a:srgbClr val="009A4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DC3A2664-9616-7687-537E-994598BA2E6E}"/>
              </a:ext>
            </a:extLst>
          </p:cNvPr>
          <p:cNvCxnSpPr/>
          <p:nvPr>
            <p:custDataLst>
              <p:tags r:id="rId10"/>
            </p:custDataLst>
          </p:nvPr>
        </p:nvCxnSpPr>
        <p:spPr bwMode="gray">
          <a:xfrm>
            <a:off x="9898063" y="4794250"/>
            <a:ext cx="185738" cy="0"/>
          </a:xfrm>
          <a:prstGeom prst="line">
            <a:avLst/>
          </a:prstGeom>
          <a:ln w="28575" cap="rnd" cmpd="sng" algn="ctr">
            <a:solidFill>
              <a:srgbClr val="63666A"/>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2">
            <a:extLst>
              <a:ext uri="{FF2B5EF4-FFF2-40B4-BE49-F238E27FC236}">
                <a16:creationId xmlns:a16="http://schemas.microsoft.com/office/drawing/2014/main" id="{157E2803-2BF7-ABD7-C482-D7A3AD0399C5}"/>
              </a:ext>
            </a:extLst>
          </p:cNvPr>
          <p:cNvSpPr>
            <a:spLocks noGrp="1"/>
          </p:cNvSpPr>
          <p:nvPr>
            <p:custDataLst>
              <p:tags r:id="rId11"/>
            </p:custDataLst>
          </p:nvPr>
        </p:nvSpPr>
        <p:spPr bwMode="auto">
          <a:xfrm>
            <a:off x="8105775" y="4498975"/>
            <a:ext cx="328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8114337-9AB2-4689-9038-F4BC4E0C0D5D}" type="datetime'''''''W''''''''''''''''''''''''i''''''''''n''d'">
              <a:rPr lang="en-AU" altLang="en-US" sz="1200" smtClean="0"/>
              <a:pPr marL="0" lvl="0" indent="0">
                <a:spcBef>
                  <a:spcPct val="0"/>
                </a:spcBef>
                <a:spcAft>
                  <a:spcPct val="0"/>
                </a:spcAft>
                <a:buNone/>
              </a:pPr>
              <a:t>Wind</a:t>
            </a:fld>
            <a:endParaRPr lang="en-AU" sz="1200"/>
          </a:p>
        </p:txBody>
      </p:sp>
      <p:sp>
        <p:nvSpPr>
          <p:cNvPr id="43" name="Text Placeholder 2">
            <a:extLst>
              <a:ext uri="{FF2B5EF4-FFF2-40B4-BE49-F238E27FC236}">
                <a16:creationId xmlns:a16="http://schemas.microsoft.com/office/drawing/2014/main" id="{157E2803-2BF7-ABD7-C482-D7A3AD0399C5}"/>
              </a:ext>
            </a:extLst>
          </p:cNvPr>
          <p:cNvSpPr>
            <a:spLocks noGrp="1"/>
          </p:cNvSpPr>
          <p:nvPr>
            <p:custDataLst>
              <p:tags r:id="rId12"/>
            </p:custDataLst>
          </p:nvPr>
        </p:nvSpPr>
        <p:spPr bwMode="auto">
          <a:xfrm>
            <a:off x="8105775" y="4722813"/>
            <a:ext cx="16764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2470A1-AAEE-44EE-A016-47A499717FC7}" type="datetime'''C''''onve''''nt''io''n''a''l Hy''''d''r''o''elec''t''ric'''">
              <a:rPr lang="en-AU" altLang="en-US" sz="1200" smtClean="0"/>
              <a:pPr marL="0" lvl="0" indent="0">
                <a:spcBef>
                  <a:spcPct val="0"/>
                </a:spcBef>
                <a:spcAft>
                  <a:spcPct val="0"/>
                </a:spcAft>
                <a:buNone/>
              </a:pPr>
              <a:t>Conventional Hydroelectric</a:t>
            </a:fld>
            <a:endParaRPr lang="en-AU" sz="1200"/>
          </a:p>
        </p:txBody>
      </p:sp>
      <p:sp>
        <p:nvSpPr>
          <p:cNvPr id="53" name="Text Placeholder 2">
            <a:extLst>
              <a:ext uri="{FF2B5EF4-FFF2-40B4-BE49-F238E27FC236}">
                <a16:creationId xmlns:a16="http://schemas.microsoft.com/office/drawing/2014/main" id="{DC00A50B-6B52-C5C7-2A31-D4AC197243DD}"/>
              </a:ext>
            </a:extLst>
          </p:cNvPr>
          <p:cNvSpPr>
            <a:spLocks noGrp="1"/>
          </p:cNvSpPr>
          <p:nvPr>
            <p:custDataLst>
              <p:tags r:id="rId13"/>
            </p:custDataLst>
          </p:nvPr>
        </p:nvSpPr>
        <p:spPr bwMode="auto">
          <a:xfrm>
            <a:off x="10148888" y="4498975"/>
            <a:ext cx="1120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2937FBB-C7AE-477A-A59E-3CE4630C8B01}" type="datetime'''Sola''''r'''''' P''''''hoto''''vo''l''t''a''ic'''''''">
              <a:rPr lang="en-AU" altLang="en-US" sz="1200" smtClean="0"/>
              <a:pPr marL="0" lvl="0" indent="0">
                <a:spcBef>
                  <a:spcPct val="0"/>
                </a:spcBef>
                <a:spcAft>
                  <a:spcPct val="0"/>
                </a:spcAft>
                <a:buNone/>
              </a:pPr>
              <a:t>Solar Photovoltaic</a:t>
            </a:fld>
            <a:endParaRPr lang="en-AU" sz="1200"/>
          </a:p>
        </p:txBody>
      </p:sp>
      <p:sp>
        <p:nvSpPr>
          <p:cNvPr id="55" name="Text Placeholder 2">
            <a:extLst>
              <a:ext uri="{FF2B5EF4-FFF2-40B4-BE49-F238E27FC236}">
                <a16:creationId xmlns:a16="http://schemas.microsoft.com/office/drawing/2014/main" id="{75A646E6-F6A8-77EF-A3C0-62623A1E9EF0}"/>
              </a:ext>
            </a:extLst>
          </p:cNvPr>
          <p:cNvSpPr>
            <a:spLocks noGrp="1"/>
          </p:cNvSpPr>
          <p:nvPr>
            <p:custDataLst>
              <p:tags r:id="rId14"/>
            </p:custDataLst>
          </p:nvPr>
        </p:nvSpPr>
        <p:spPr bwMode="auto">
          <a:xfrm>
            <a:off x="10148888" y="4722813"/>
            <a:ext cx="3603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660B246-F470-4AE8-BC52-3F576973BE82}" type="datetime'''''O''t''''h''''''''''''''''''e''''''''r'''''''''''''''">
              <a:rPr lang="en-AU" altLang="en-US" sz="1200" smtClean="0"/>
              <a:pPr marL="0" lvl="0" indent="0">
                <a:spcBef>
                  <a:spcPct val="0"/>
                </a:spcBef>
                <a:spcAft>
                  <a:spcPct val="0"/>
                </a:spcAft>
                <a:buNone/>
              </a:pPr>
              <a:t>Other</a:t>
            </a:fld>
            <a:endParaRPr lang="en-AU" sz="1200"/>
          </a:p>
        </p:txBody>
      </p:sp>
      <p:sp>
        <p:nvSpPr>
          <p:cNvPr id="97" name="TextBox 96">
            <a:extLst>
              <a:ext uri="{FF2B5EF4-FFF2-40B4-BE49-F238E27FC236}">
                <a16:creationId xmlns:a16="http://schemas.microsoft.com/office/drawing/2014/main" id="{E114BF3B-D9C8-51AD-9E78-B3BFB20D4E97}"/>
              </a:ext>
            </a:extLst>
          </p:cNvPr>
          <p:cNvSpPr txBox="1"/>
          <p:nvPr/>
        </p:nvSpPr>
        <p:spPr>
          <a:xfrm rot="16200000">
            <a:off x="5287856" y="3381323"/>
            <a:ext cx="2341617" cy="246221"/>
          </a:xfrm>
          <a:prstGeom prst="rect">
            <a:avLst/>
          </a:prstGeom>
          <a:noFill/>
        </p:spPr>
        <p:txBody>
          <a:bodyPr wrap="square" rtlCol="0">
            <a:spAutoFit/>
          </a:bodyPr>
          <a:lstStyle/>
          <a:p>
            <a:pPr algn="ctr"/>
            <a:r>
              <a:rPr lang="en-AU" sz="1000">
                <a:latin typeface="Segoe UI Semibold" panose="020B0702040204020203" pitchFamily="34" charset="0"/>
                <a:cs typeface="Segoe UI Semibold" panose="020B0702040204020203" pitchFamily="34" charset="0"/>
              </a:rPr>
              <a:t>Net Generation (‘000 MWh)</a:t>
            </a:r>
          </a:p>
        </p:txBody>
      </p:sp>
      <p:pic>
        <p:nvPicPr>
          <p:cNvPr id="211" name="Picture 210">
            <a:extLst>
              <a:ext uri="{FF2B5EF4-FFF2-40B4-BE49-F238E27FC236}">
                <a16:creationId xmlns:a16="http://schemas.microsoft.com/office/drawing/2014/main" id="{E860E316-859A-D609-66CD-B9C9D1AEEA66}"/>
              </a:ext>
            </a:extLst>
          </p:cNvPr>
          <p:cNvPicPr>
            <a:picLocks noChangeAspect="1"/>
          </p:cNvPicPr>
          <p:nvPr/>
        </p:nvPicPr>
        <p:blipFill rotWithShape="1">
          <a:blip r:embed="rId20"/>
          <a:srcRect t="1722" b="61968"/>
          <a:stretch/>
        </p:blipFill>
        <p:spPr>
          <a:xfrm>
            <a:off x="6856413" y="5178986"/>
            <a:ext cx="4895850" cy="1253003"/>
          </a:xfrm>
          <a:prstGeom prst="rect">
            <a:avLst/>
          </a:prstGeom>
        </p:spPr>
      </p:pic>
      <p:sp>
        <p:nvSpPr>
          <p:cNvPr id="212" name="Rectangle 211">
            <a:extLst>
              <a:ext uri="{FF2B5EF4-FFF2-40B4-BE49-F238E27FC236}">
                <a16:creationId xmlns:a16="http://schemas.microsoft.com/office/drawing/2014/main" id="{A5D9DAEA-8AC6-1EB2-4AD9-0F04D4C7DB09}"/>
              </a:ext>
            </a:extLst>
          </p:cNvPr>
          <p:cNvSpPr/>
          <p:nvPr/>
        </p:nvSpPr>
        <p:spPr>
          <a:xfrm>
            <a:off x="-10858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spTree>
    <p:extLst>
      <p:ext uri="{BB962C8B-B14F-4D97-AF65-F5344CB8AC3E}">
        <p14:creationId xmlns:p14="http://schemas.microsoft.com/office/powerpoint/2010/main" val="18766875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graph of a turbine capacity&#10;&#10;Description automatically generated">
            <a:extLst>
              <a:ext uri="{FF2B5EF4-FFF2-40B4-BE49-F238E27FC236}">
                <a16:creationId xmlns:a16="http://schemas.microsoft.com/office/drawing/2014/main" id="{9C36D794-0A4D-5284-8ACC-4E90A25BA956}"/>
              </a:ext>
            </a:extLst>
          </p:cNvPr>
          <p:cNvPicPr>
            <a:picLocks noGrp="1" noChangeAspect="1"/>
          </p:cNvPicPr>
          <p:nvPr>
            <p:ph idx="1"/>
          </p:nvPr>
        </p:nvPicPr>
        <p:blipFill>
          <a:blip r:embed="rId2"/>
          <a:stretch>
            <a:fillRect/>
          </a:stretch>
        </p:blipFill>
        <p:spPr>
          <a:xfrm>
            <a:off x="2678815" y="499181"/>
            <a:ext cx="7323554" cy="5856523"/>
          </a:xfrm>
        </p:spPr>
      </p:pic>
      <p:sp>
        <p:nvSpPr>
          <p:cNvPr id="6" name="Title 1">
            <a:extLst>
              <a:ext uri="{FF2B5EF4-FFF2-40B4-BE49-F238E27FC236}">
                <a16:creationId xmlns:a16="http://schemas.microsoft.com/office/drawing/2014/main" id="{133B29E3-14C0-F2E8-4D09-F063A3486BE7}"/>
              </a:ext>
            </a:extLst>
          </p:cNvPr>
          <p:cNvSpPr>
            <a:spLocks noGrp="1"/>
          </p:cNvSpPr>
          <p:nvPr>
            <p:ph type="title"/>
          </p:nvPr>
        </p:nvSpPr>
        <p:spPr>
          <a:xfrm>
            <a:off x="838200" y="365125"/>
            <a:ext cx="10515600" cy="1325563"/>
          </a:xfrm>
        </p:spPr>
        <p:txBody>
          <a:bodyPr vert="horz"/>
          <a:lstStyle/>
          <a:p>
            <a:r>
              <a:rPr lang="en-AU"/>
              <a:t>8 cont.</a:t>
            </a:r>
          </a:p>
        </p:txBody>
      </p:sp>
    </p:spTree>
    <p:extLst>
      <p:ext uri="{BB962C8B-B14F-4D97-AF65-F5344CB8AC3E}">
        <p14:creationId xmlns:p14="http://schemas.microsoft.com/office/powerpoint/2010/main" val="39684363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B02B9E7-0FB9-EA8F-D8D6-91096EDBC351}"/>
              </a:ext>
            </a:extLst>
          </p:cNvPr>
          <p:cNvPicPr>
            <a:picLocks noGrp="1" noChangeAspect="1"/>
          </p:cNvPicPr>
          <p:nvPr>
            <p:ph idx="1"/>
          </p:nvPr>
        </p:nvPicPr>
        <p:blipFill>
          <a:blip r:embed="rId2"/>
          <a:stretch>
            <a:fillRect/>
          </a:stretch>
        </p:blipFill>
        <p:spPr>
          <a:xfrm>
            <a:off x="2756009" y="282811"/>
            <a:ext cx="7272650" cy="5818893"/>
          </a:xfrm>
        </p:spPr>
      </p:pic>
      <p:sp>
        <p:nvSpPr>
          <p:cNvPr id="6" name="Title 1">
            <a:extLst>
              <a:ext uri="{FF2B5EF4-FFF2-40B4-BE49-F238E27FC236}">
                <a16:creationId xmlns:a16="http://schemas.microsoft.com/office/drawing/2014/main" id="{EC84BFAA-89CB-74C6-AE69-B8E6812D5BCE}"/>
              </a:ext>
            </a:extLst>
          </p:cNvPr>
          <p:cNvSpPr>
            <a:spLocks noGrp="1"/>
          </p:cNvSpPr>
          <p:nvPr>
            <p:ph type="title"/>
          </p:nvPr>
        </p:nvSpPr>
        <p:spPr>
          <a:xfrm>
            <a:off x="838200" y="365125"/>
            <a:ext cx="10515600" cy="1325563"/>
          </a:xfrm>
        </p:spPr>
        <p:txBody>
          <a:bodyPr vert="horz"/>
          <a:lstStyle/>
          <a:p>
            <a:r>
              <a:rPr lang="en-AU"/>
              <a:t>8 cont.</a:t>
            </a:r>
          </a:p>
        </p:txBody>
      </p:sp>
    </p:spTree>
    <p:extLst>
      <p:ext uri="{BB962C8B-B14F-4D97-AF65-F5344CB8AC3E}">
        <p14:creationId xmlns:p14="http://schemas.microsoft.com/office/powerpoint/2010/main" val="893070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screenshot of a graph&#10;&#10;Description automatically generated">
            <a:extLst>
              <a:ext uri="{FF2B5EF4-FFF2-40B4-BE49-F238E27FC236}">
                <a16:creationId xmlns:a16="http://schemas.microsoft.com/office/drawing/2014/main" id="{E6F109E6-6365-F205-81E3-4CDF7A9032F1}"/>
              </a:ext>
            </a:extLst>
          </p:cNvPr>
          <p:cNvPicPr>
            <a:picLocks noGrp="1" noChangeAspect="1"/>
          </p:cNvPicPr>
          <p:nvPr>
            <p:ph idx="1"/>
          </p:nvPr>
        </p:nvPicPr>
        <p:blipFill>
          <a:blip r:embed="rId3"/>
          <a:stretch>
            <a:fillRect/>
          </a:stretch>
        </p:blipFill>
        <p:spPr>
          <a:xfrm>
            <a:off x="2690157" y="414514"/>
            <a:ext cx="7394946" cy="5922375"/>
          </a:xfrm>
        </p:spPr>
      </p:pic>
      <p:sp>
        <p:nvSpPr>
          <p:cNvPr id="6" name="Title 1">
            <a:extLst>
              <a:ext uri="{FF2B5EF4-FFF2-40B4-BE49-F238E27FC236}">
                <a16:creationId xmlns:a16="http://schemas.microsoft.com/office/drawing/2014/main" id="{6510A7D2-DEC5-C92C-A40E-F1FC7708EA8D}"/>
              </a:ext>
            </a:extLst>
          </p:cNvPr>
          <p:cNvSpPr>
            <a:spLocks noGrp="1"/>
          </p:cNvSpPr>
          <p:nvPr>
            <p:ph type="title"/>
          </p:nvPr>
        </p:nvSpPr>
        <p:spPr>
          <a:xfrm>
            <a:off x="838200" y="365125"/>
            <a:ext cx="10515600" cy="1325563"/>
          </a:xfrm>
        </p:spPr>
        <p:txBody>
          <a:bodyPr vert="horz"/>
          <a:lstStyle/>
          <a:p>
            <a:r>
              <a:rPr lang="en-AU"/>
              <a:t>8 cont.</a:t>
            </a:r>
          </a:p>
        </p:txBody>
      </p:sp>
    </p:spTree>
    <p:extLst>
      <p:ext uri="{BB962C8B-B14F-4D97-AF65-F5344CB8AC3E}">
        <p14:creationId xmlns:p14="http://schemas.microsoft.com/office/powerpoint/2010/main" val="8258655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A971DE-C463-9317-50BF-0D2513D1B0F1}"/>
              </a:ext>
            </a:extLst>
          </p:cNvPr>
          <p:cNvGraphicFramePr>
            <a:graphicFrameLocks noChangeAspect="1"/>
          </p:cNvGraphicFramePr>
          <p:nvPr>
            <p:custDataLst>
              <p:tags r:id="rId2"/>
            </p:custDataLst>
            <p:extLst>
              <p:ext uri="{D42A27DB-BD31-4B8C-83A1-F6EECF244321}">
                <p14:modId xmlns:p14="http://schemas.microsoft.com/office/powerpoint/2010/main" val="95562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A6A971DE-C463-9317-50BF-0D2513D1B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D4EE2B-9293-EEFF-82B8-779E78CCBB55}"/>
              </a:ext>
            </a:extLst>
          </p:cNvPr>
          <p:cNvSpPr>
            <a:spLocks noGrp="1"/>
          </p:cNvSpPr>
          <p:nvPr>
            <p:ph type="title"/>
          </p:nvPr>
        </p:nvSpPr>
        <p:spPr/>
        <p:txBody>
          <a:bodyPr vert="horz"/>
          <a:lstStyle/>
          <a:p>
            <a:r>
              <a:rPr lang="en-AU"/>
              <a:t>10. Top 10 wind-energy operators in US</a:t>
            </a:r>
          </a:p>
        </p:txBody>
      </p:sp>
      <p:pic>
        <p:nvPicPr>
          <p:cNvPr id="6" name="Content Placeholder 5" descr="A screenshot of a graph&#10;&#10;Description automatically generated">
            <a:extLst>
              <a:ext uri="{FF2B5EF4-FFF2-40B4-BE49-F238E27FC236}">
                <a16:creationId xmlns:a16="http://schemas.microsoft.com/office/drawing/2014/main" id="{B7EA377F-7D67-FAED-58D7-25CC97EF2F2F}"/>
              </a:ext>
            </a:extLst>
          </p:cNvPr>
          <p:cNvPicPr>
            <a:picLocks noGrp="1" noChangeAspect="1"/>
          </p:cNvPicPr>
          <p:nvPr>
            <p:ph idx="1"/>
          </p:nvPr>
        </p:nvPicPr>
        <p:blipFill>
          <a:blip r:embed="rId6"/>
          <a:stretch>
            <a:fillRect/>
          </a:stretch>
        </p:blipFill>
        <p:spPr>
          <a:xfrm>
            <a:off x="2505458" y="1408683"/>
            <a:ext cx="6519726" cy="5170847"/>
          </a:xfrm>
        </p:spPr>
      </p:pic>
    </p:spTree>
    <p:extLst>
      <p:ext uri="{BB962C8B-B14F-4D97-AF65-F5344CB8AC3E}">
        <p14:creationId xmlns:p14="http://schemas.microsoft.com/office/powerpoint/2010/main" val="37336476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A971DE-C463-9317-50BF-0D2513D1B0F1}"/>
              </a:ext>
            </a:extLst>
          </p:cNvPr>
          <p:cNvGraphicFramePr>
            <a:graphicFrameLocks noChangeAspect="1"/>
          </p:cNvGraphicFramePr>
          <p:nvPr>
            <p:custDataLst>
              <p:tags r:id="rId2"/>
            </p:custDataLst>
            <p:extLst>
              <p:ext uri="{D42A27DB-BD31-4B8C-83A1-F6EECF244321}">
                <p14:modId xmlns:p14="http://schemas.microsoft.com/office/powerpoint/2010/main" val="163892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A6A971DE-C463-9317-50BF-0D2513D1B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D4EE2B-9293-EEFF-82B8-779E78CCBB55}"/>
              </a:ext>
            </a:extLst>
          </p:cNvPr>
          <p:cNvSpPr>
            <a:spLocks noGrp="1"/>
          </p:cNvSpPr>
          <p:nvPr>
            <p:ph type="title"/>
          </p:nvPr>
        </p:nvSpPr>
        <p:spPr/>
        <p:txBody>
          <a:bodyPr vert="horz"/>
          <a:lstStyle/>
          <a:p>
            <a:r>
              <a:rPr lang="en-AU"/>
              <a:t>10. </a:t>
            </a:r>
            <a:r>
              <a:rPr lang="en-US"/>
              <a:t>Top 5 Operators by most Potential Company to Invest</a:t>
            </a:r>
            <a:endParaRPr lang="en-AU"/>
          </a:p>
        </p:txBody>
      </p:sp>
      <p:pic>
        <p:nvPicPr>
          <p:cNvPr id="8" name="Content Placeholder 4" descr="A map of the united states with orange dots&#10;&#10;Description automatically generated">
            <a:extLst>
              <a:ext uri="{FF2B5EF4-FFF2-40B4-BE49-F238E27FC236}">
                <a16:creationId xmlns:a16="http://schemas.microsoft.com/office/drawing/2014/main" id="{681353B7-65F7-D7EE-BE09-B8694814D568}"/>
              </a:ext>
            </a:extLst>
          </p:cNvPr>
          <p:cNvPicPr>
            <a:picLocks noGrp="1" noChangeAspect="1"/>
          </p:cNvPicPr>
          <p:nvPr>
            <p:ph idx="1"/>
          </p:nvPr>
        </p:nvPicPr>
        <p:blipFill>
          <a:blip r:embed="rId6"/>
          <a:stretch>
            <a:fillRect/>
          </a:stretch>
        </p:blipFill>
        <p:spPr>
          <a:xfrm>
            <a:off x="2316922" y="1546225"/>
            <a:ext cx="8142357" cy="5240338"/>
          </a:xfrm>
        </p:spPr>
      </p:pic>
    </p:spTree>
    <p:extLst>
      <p:ext uri="{BB962C8B-B14F-4D97-AF65-F5344CB8AC3E}">
        <p14:creationId xmlns:p14="http://schemas.microsoft.com/office/powerpoint/2010/main" val="23592174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10B19-CC89-15EE-DBE5-C8EB3B487F2D}"/>
              </a:ext>
            </a:extLst>
          </p:cNvPr>
          <p:cNvGraphicFramePr>
            <a:graphicFrameLocks noChangeAspect="1"/>
          </p:cNvGraphicFramePr>
          <p:nvPr>
            <p:custDataLst>
              <p:tags r:id="rId2"/>
            </p:custDataLst>
            <p:extLst>
              <p:ext uri="{D42A27DB-BD31-4B8C-83A1-F6EECF244321}">
                <p14:modId xmlns:p14="http://schemas.microsoft.com/office/powerpoint/2010/main" val="387593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69210B19-CC89-15EE-DBE5-C8EB3B487F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63317E-8584-6752-E3C7-F45941620DCC}"/>
              </a:ext>
            </a:extLst>
          </p:cNvPr>
          <p:cNvSpPr>
            <a:spLocks noGrp="1"/>
          </p:cNvSpPr>
          <p:nvPr>
            <p:ph type="title"/>
          </p:nvPr>
        </p:nvSpPr>
        <p:spPr/>
        <p:txBody>
          <a:bodyPr vert="horz"/>
          <a:lstStyle/>
          <a:p>
            <a:r>
              <a:rPr lang="en-AU"/>
              <a:t>12. Top Manufacturers | 2017 - 2021</a:t>
            </a:r>
          </a:p>
        </p:txBody>
      </p:sp>
      <p:pic>
        <p:nvPicPr>
          <p:cNvPr id="6" name="Picture 5">
            <a:extLst>
              <a:ext uri="{FF2B5EF4-FFF2-40B4-BE49-F238E27FC236}">
                <a16:creationId xmlns:a16="http://schemas.microsoft.com/office/drawing/2014/main" id="{90C270E2-5B7D-8F44-C5E0-FD27AA265D9C}"/>
              </a:ext>
            </a:extLst>
          </p:cNvPr>
          <p:cNvPicPr>
            <a:picLocks noChangeAspect="1"/>
          </p:cNvPicPr>
          <p:nvPr/>
        </p:nvPicPr>
        <p:blipFill>
          <a:blip r:embed="rId6"/>
          <a:stretch>
            <a:fillRect/>
          </a:stretch>
        </p:blipFill>
        <p:spPr>
          <a:xfrm>
            <a:off x="419100" y="1857375"/>
            <a:ext cx="5846045" cy="4635500"/>
          </a:xfrm>
          <a:prstGeom prst="rect">
            <a:avLst/>
          </a:prstGeom>
        </p:spPr>
      </p:pic>
      <p:pic>
        <p:nvPicPr>
          <p:cNvPr id="8" name="Picture 7">
            <a:extLst>
              <a:ext uri="{FF2B5EF4-FFF2-40B4-BE49-F238E27FC236}">
                <a16:creationId xmlns:a16="http://schemas.microsoft.com/office/drawing/2014/main" id="{4E9C9ED5-F60F-ADA1-65C0-A48C7DFE9E75}"/>
              </a:ext>
            </a:extLst>
          </p:cNvPr>
          <p:cNvPicPr>
            <a:picLocks noChangeAspect="1"/>
          </p:cNvPicPr>
          <p:nvPr/>
        </p:nvPicPr>
        <p:blipFill>
          <a:blip r:embed="rId7"/>
          <a:stretch>
            <a:fillRect/>
          </a:stretch>
        </p:blipFill>
        <p:spPr>
          <a:xfrm>
            <a:off x="6459015" y="3225006"/>
            <a:ext cx="4999560" cy="3267869"/>
          </a:xfrm>
          <a:prstGeom prst="rect">
            <a:avLst/>
          </a:prstGeom>
        </p:spPr>
      </p:pic>
      <p:sp>
        <p:nvSpPr>
          <p:cNvPr id="9" name="TextBox 8">
            <a:extLst>
              <a:ext uri="{FF2B5EF4-FFF2-40B4-BE49-F238E27FC236}">
                <a16:creationId xmlns:a16="http://schemas.microsoft.com/office/drawing/2014/main" id="{2C2DB176-5535-6EAD-D000-F3FAC424146E}"/>
              </a:ext>
            </a:extLst>
          </p:cNvPr>
          <p:cNvSpPr txBox="1"/>
          <p:nvPr/>
        </p:nvSpPr>
        <p:spPr>
          <a:xfrm>
            <a:off x="6459015" y="1387029"/>
            <a:ext cx="4885260" cy="1754326"/>
          </a:xfrm>
          <a:prstGeom prst="rect">
            <a:avLst/>
          </a:prstGeom>
          <a:noFill/>
        </p:spPr>
        <p:txBody>
          <a:bodyPr wrap="square" rtlCol="0">
            <a:spAutoFit/>
          </a:bodyPr>
          <a:lstStyle/>
          <a:p>
            <a:r>
              <a:rPr lang="en-AU" sz="1200">
                <a:solidFill>
                  <a:srgbClr val="000000"/>
                </a:solidFill>
                <a:effectLst/>
                <a:latin typeface="Segoe UI Light" panose="020B0502040204020203" pitchFamily="34" charset="0"/>
              </a:rPr>
              <a:t>- From 2017 to 2021 (the last 5 years), there has been 6 manufacturer in the US wind turbine industry: vestas, GE Wind, Gamesa, Siemens and Nordex and Siemens Gamesa </a:t>
            </a:r>
            <a:endParaRPr lang="en-AU" sz="1200">
              <a:effectLst/>
            </a:endParaRPr>
          </a:p>
          <a:p>
            <a:r>
              <a:rPr lang="en-AU" sz="1200">
                <a:solidFill>
                  <a:srgbClr val="000000"/>
                </a:solidFill>
                <a:effectLst/>
                <a:latin typeface="Segoe UI Light" panose="020B0502040204020203" pitchFamily="34" charset="0"/>
              </a:rPr>
              <a:t>- The top players are Vestas and GE Wind respectively and together, they both make up 80.56% (or 14434 units of Turbine) of the US </a:t>
            </a:r>
            <a:r>
              <a:rPr lang="en-AU" sz="1200" err="1">
                <a:solidFill>
                  <a:srgbClr val="000000"/>
                </a:solidFill>
                <a:effectLst/>
                <a:latin typeface="Segoe UI Light" panose="020B0502040204020203" pitchFamily="34" charset="0"/>
              </a:rPr>
              <a:t>marketshare</a:t>
            </a:r>
            <a:r>
              <a:rPr lang="en-AU" sz="1200">
                <a:solidFill>
                  <a:srgbClr val="000000"/>
                </a:solidFill>
                <a:effectLst/>
                <a:latin typeface="Segoe UI Light" panose="020B0502040204020203" pitchFamily="34" charset="0"/>
              </a:rPr>
              <a:t>. </a:t>
            </a:r>
            <a:endParaRPr lang="en-AU" sz="1200">
              <a:effectLst/>
            </a:endParaRPr>
          </a:p>
          <a:p>
            <a:r>
              <a:rPr lang="en-AU" sz="1200">
                <a:solidFill>
                  <a:srgbClr val="000000"/>
                </a:solidFill>
                <a:effectLst/>
                <a:latin typeface="Segoe UI Light" panose="020B0502040204020203" pitchFamily="34" charset="0"/>
              </a:rPr>
              <a:t>- In 2017 and 2018, Vestas dominated the manufacturing market with GE Wind being a close second industry lead. GE Wind overtook  Vestas in 2019 and 2020, however, Vestas rebounded and dominated the industry in 2021. </a:t>
            </a:r>
            <a:endParaRPr lang="en-AU"/>
          </a:p>
        </p:txBody>
      </p:sp>
    </p:spTree>
    <p:extLst>
      <p:ext uri="{BB962C8B-B14F-4D97-AF65-F5344CB8AC3E}">
        <p14:creationId xmlns:p14="http://schemas.microsoft.com/office/powerpoint/2010/main" val="31460026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C96338-BE77-70D1-7414-5C64534C9C1F}"/>
              </a:ext>
            </a:extLst>
          </p:cNvPr>
          <p:cNvGraphicFramePr>
            <a:graphicFrameLocks noChangeAspect="1"/>
          </p:cNvGraphicFramePr>
          <p:nvPr>
            <p:custDataLst>
              <p:tags r:id="rId2"/>
            </p:custDataLst>
            <p:extLst>
              <p:ext uri="{D42A27DB-BD31-4B8C-83A1-F6EECF244321}">
                <p14:modId xmlns:p14="http://schemas.microsoft.com/office/powerpoint/2010/main" val="1775163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C0C96338-BE77-70D1-7414-5C64534C9C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287A46-F2F2-E14E-4CC3-98BCAB3D2CD3}"/>
              </a:ext>
            </a:extLst>
          </p:cNvPr>
          <p:cNvSpPr>
            <a:spLocks noGrp="1"/>
          </p:cNvSpPr>
          <p:nvPr>
            <p:ph type="title"/>
          </p:nvPr>
        </p:nvSpPr>
        <p:spPr/>
        <p:txBody>
          <a:bodyPr vert="horz"/>
          <a:lstStyle/>
          <a:p>
            <a:r>
              <a:rPr lang="en-AU"/>
              <a:t>12. Quality of turbines by manufacturer (retrofit)</a:t>
            </a:r>
          </a:p>
        </p:txBody>
      </p:sp>
      <p:pic>
        <p:nvPicPr>
          <p:cNvPr id="9" name="Picture 8">
            <a:extLst>
              <a:ext uri="{FF2B5EF4-FFF2-40B4-BE49-F238E27FC236}">
                <a16:creationId xmlns:a16="http://schemas.microsoft.com/office/drawing/2014/main" id="{8A0223D3-E586-7903-E6F7-D3A5EFE666EC}"/>
              </a:ext>
            </a:extLst>
          </p:cNvPr>
          <p:cNvPicPr>
            <a:picLocks noChangeAspect="1"/>
          </p:cNvPicPr>
          <p:nvPr/>
        </p:nvPicPr>
        <p:blipFill>
          <a:blip r:embed="rId7"/>
          <a:stretch>
            <a:fillRect/>
          </a:stretch>
        </p:blipFill>
        <p:spPr>
          <a:xfrm>
            <a:off x="942974" y="1490675"/>
            <a:ext cx="9839325" cy="2766494"/>
          </a:xfrm>
          <a:prstGeom prst="rect">
            <a:avLst/>
          </a:prstGeom>
        </p:spPr>
      </p:pic>
      <p:sp>
        <p:nvSpPr>
          <p:cNvPr id="10" name="TextBox 9">
            <a:extLst>
              <a:ext uri="{FF2B5EF4-FFF2-40B4-BE49-F238E27FC236}">
                <a16:creationId xmlns:a16="http://schemas.microsoft.com/office/drawing/2014/main" id="{AEFD4A52-9809-F64D-C01D-590601B51618}"/>
              </a:ext>
            </a:extLst>
          </p:cNvPr>
          <p:cNvSpPr txBox="1"/>
          <p:nvPr/>
        </p:nvSpPr>
        <p:spPr>
          <a:xfrm>
            <a:off x="838199" y="4257169"/>
            <a:ext cx="11001375" cy="1938992"/>
          </a:xfrm>
          <a:prstGeom prst="rect">
            <a:avLst/>
          </a:prstGeom>
          <a:noFill/>
        </p:spPr>
        <p:txBody>
          <a:bodyPr wrap="square" rtlCol="0">
            <a:spAutoFit/>
          </a:bodyPr>
          <a:lstStyle/>
          <a:p>
            <a:r>
              <a:rPr lang="en-AU" sz="1200">
                <a:solidFill>
                  <a:srgbClr val="000000"/>
                </a:solidFill>
                <a:effectLst/>
                <a:latin typeface="Segoe UI Light" panose="020B0502040204020203" pitchFamily="34" charset="0"/>
              </a:rPr>
              <a:t>- The typical lifespan of a wind turbine is 20 years and therefore, for the purposes of this analysis, we have looked at data from 2001 – 2021. </a:t>
            </a:r>
            <a:endParaRPr lang="en-AU" sz="1200">
              <a:effectLst/>
            </a:endParaRPr>
          </a:p>
          <a:p>
            <a:r>
              <a:rPr lang="en-AU" sz="1200">
                <a:solidFill>
                  <a:srgbClr val="000000"/>
                </a:solidFill>
                <a:effectLst/>
                <a:latin typeface="Segoe UI Light" panose="020B0502040204020203" pitchFamily="34" charset="0"/>
              </a:rPr>
              <a:t>- I have elected to use Retrofit as a proxy for measuring the quality of the turbines. </a:t>
            </a:r>
            <a:endParaRPr lang="en-AU" sz="1200">
              <a:effectLst/>
            </a:endParaRPr>
          </a:p>
          <a:p>
            <a:r>
              <a:rPr lang="en-AU" sz="1200">
                <a:solidFill>
                  <a:srgbClr val="000000"/>
                </a:solidFill>
                <a:effectLst/>
                <a:latin typeface="Segoe UI Light" panose="020B0502040204020203" pitchFamily="34" charset="0"/>
              </a:rPr>
              <a:t>- From 2001 to 2021, only GE Wind, Vestas, Gamesa, </a:t>
            </a:r>
            <a:r>
              <a:rPr lang="en-AU" sz="1200" err="1">
                <a:solidFill>
                  <a:srgbClr val="000000"/>
                </a:solidFill>
                <a:effectLst/>
                <a:latin typeface="Segoe UI Light" panose="020B0502040204020203" pitchFamily="34" charset="0"/>
              </a:rPr>
              <a:t>Siemes</a:t>
            </a:r>
            <a:r>
              <a:rPr lang="en-AU" sz="1200">
                <a:solidFill>
                  <a:srgbClr val="000000"/>
                </a:solidFill>
                <a:effectLst/>
                <a:latin typeface="Segoe UI Light" panose="020B0502040204020203" pitchFamily="34" charset="0"/>
              </a:rPr>
              <a:t> Gamesa and Bonus have reported any retrofit activities. </a:t>
            </a:r>
            <a:endParaRPr lang="en-AU" sz="1200">
              <a:effectLst/>
            </a:endParaRPr>
          </a:p>
          <a:p>
            <a:r>
              <a:rPr lang="en-AU" sz="1200">
                <a:solidFill>
                  <a:srgbClr val="000000"/>
                </a:solidFill>
                <a:effectLst/>
                <a:latin typeface="Segoe UI Light" panose="020B0502040204020203" pitchFamily="34" charset="0"/>
              </a:rPr>
              <a:t>- GE Wind has engaged in the highest activity of retrofit by count of turbines with 6.2% of its turbines retrofitted. </a:t>
            </a:r>
            <a:endParaRPr lang="en-AU" sz="1200">
              <a:effectLst/>
            </a:endParaRPr>
          </a:p>
          <a:p>
            <a:r>
              <a:rPr lang="en-AU" sz="1200">
                <a:solidFill>
                  <a:srgbClr val="000000"/>
                </a:solidFill>
                <a:effectLst/>
                <a:latin typeface="Segoe UI Light" panose="020B0502040204020203" pitchFamily="34" charset="0"/>
              </a:rPr>
              <a:t>- Vestas has also engaged in retrofit activities, however, only 0.6% of its turbines have been retrofitted. </a:t>
            </a:r>
            <a:endParaRPr lang="en-AU" sz="1200">
              <a:effectLst/>
            </a:endParaRPr>
          </a:p>
          <a:p>
            <a:r>
              <a:rPr lang="en-AU" sz="1200">
                <a:solidFill>
                  <a:srgbClr val="000000"/>
                </a:solidFill>
                <a:effectLst/>
                <a:latin typeface="Segoe UI Light" panose="020B0502040204020203" pitchFamily="34" charset="0"/>
              </a:rPr>
              <a:t>- While we have taken the assumption that higher activity of retrofit indicates poorer quality (to confirm), it is also noted that retrofitting could also be an indicator of a turbine’s improvement to its useful life/quality (and ultimately required retrofitting) </a:t>
            </a:r>
            <a:endParaRPr lang="en-AU" sz="1200">
              <a:effectLst/>
            </a:endParaRPr>
          </a:p>
          <a:p>
            <a:pPr marL="171450" indent="-171450">
              <a:buFontTx/>
              <a:buChar char="-"/>
            </a:pPr>
            <a:r>
              <a:rPr lang="en-AU" sz="1200">
                <a:solidFill>
                  <a:srgbClr val="000000"/>
                </a:solidFill>
                <a:effectLst/>
                <a:latin typeface="Segoe UI Light" panose="020B0502040204020203" pitchFamily="34" charset="0"/>
              </a:rPr>
              <a:t>Based on the data, Vestas has had the lowest average retrofit years (operational year – retrofit year) at 10.8 years. This is followed by GE Wind who has an average retrofit years of 11.7 years. </a:t>
            </a:r>
          </a:p>
          <a:p>
            <a:pPr marL="171450" indent="-171450">
              <a:buFontTx/>
              <a:buChar char="-"/>
            </a:pPr>
            <a:r>
              <a:rPr lang="en-AU" sz="1200">
                <a:solidFill>
                  <a:srgbClr val="FF0000"/>
                </a:solidFill>
                <a:latin typeface="Segoe UI Light" panose="020B0502040204020203" pitchFamily="34" charset="0"/>
              </a:rPr>
              <a:t>TBC – analysis on using output (electricity output) as a metric of quality</a:t>
            </a:r>
            <a:r>
              <a:rPr lang="en-AU" sz="1200">
                <a:solidFill>
                  <a:srgbClr val="000000"/>
                </a:solidFill>
                <a:latin typeface="Segoe UI Light" panose="020B0502040204020203" pitchFamily="34" charset="0"/>
              </a:rPr>
              <a:t>. </a:t>
            </a:r>
            <a:endParaRPr lang="en-AU" sz="1200"/>
          </a:p>
        </p:txBody>
      </p:sp>
    </p:spTree>
    <p:extLst>
      <p:ext uri="{BB962C8B-B14F-4D97-AF65-F5344CB8AC3E}">
        <p14:creationId xmlns:p14="http://schemas.microsoft.com/office/powerpoint/2010/main" val="40258990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3815603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17" imgW="592" imgH="591" progId="TCLayout.ActiveDocument.1">
                  <p:embed/>
                </p:oleObj>
              </mc:Choice>
              <mc:Fallback>
                <p:oleObj name="think-cell Slide" r:id="rId17"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Operators Analysis | </a:t>
            </a:r>
            <a:r>
              <a:rPr lang="en-AU" sz="2400">
                <a:solidFill>
                  <a:schemeClr val="accent1"/>
                </a:solidFill>
                <a:latin typeface="Segoe UI Light" panose="020B0502040204020203" pitchFamily="34" charset="0"/>
                <a:cs typeface="Segoe UI Light" panose="020B0502040204020203" pitchFamily="34" charset="0"/>
              </a:rPr>
              <a:t>Key players in the market (cont.) </a:t>
            </a: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614757" y="1077569"/>
            <a:ext cx="10897920" cy="45796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1400">
                <a:latin typeface="Segoe UI Light" panose="020B0502040204020203" pitchFamily="34" charset="0"/>
                <a:cs typeface="Segoe UI Light" panose="020B0502040204020203" pitchFamily="34" charset="0"/>
              </a:rPr>
              <a:t>[x]</a:t>
            </a:r>
          </a:p>
        </p:txBody>
      </p:sp>
      <p:sp>
        <p:nvSpPr>
          <p:cNvPr id="2" name="Rounded Rectangle 61">
            <a:extLst>
              <a:ext uri="{FF2B5EF4-FFF2-40B4-BE49-F238E27FC236}">
                <a16:creationId xmlns:a16="http://schemas.microsoft.com/office/drawing/2014/main" id="{27A70C6D-4F36-5634-67FD-DB702A91E413}"/>
              </a:ext>
            </a:extLst>
          </p:cNvPr>
          <p:cNvSpPr/>
          <p:nvPr/>
        </p:nvSpPr>
        <p:spPr bwMode="gray">
          <a:xfrm>
            <a:off x="6630889"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Wind Energy Capacity by State | as at 2021 (kW)</a:t>
            </a:r>
          </a:p>
        </p:txBody>
      </p:sp>
      <p:sp>
        <p:nvSpPr>
          <p:cNvPr id="3" name="Freeform 584">
            <a:extLst>
              <a:ext uri="{FF2B5EF4-FFF2-40B4-BE49-F238E27FC236}">
                <a16:creationId xmlns:a16="http://schemas.microsoft.com/office/drawing/2014/main" id="{309569E5-818D-E0AB-4B5B-831A3227E7F1}"/>
              </a:ext>
            </a:extLst>
          </p:cNvPr>
          <p:cNvSpPr>
            <a:spLocks noChangeAspect="1" noEditPoints="1"/>
          </p:cNvSpPr>
          <p:nvPr/>
        </p:nvSpPr>
        <p:spPr bwMode="auto">
          <a:xfrm>
            <a:off x="6528896" y="1633962"/>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7" name="Rounded Rectangle 61">
            <a:extLst>
              <a:ext uri="{FF2B5EF4-FFF2-40B4-BE49-F238E27FC236}">
                <a16:creationId xmlns:a16="http://schemas.microsoft.com/office/drawing/2014/main" id="{D2F05241-B0C8-1B09-FB08-3F061308441B}"/>
              </a:ext>
            </a:extLst>
          </p:cNvPr>
          <p:cNvSpPr/>
          <p:nvPr/>
        </p:nvSpPr>
        <p:spPr bwMode="gray">
          <a:xfrm>
            <a:off x="614757"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US Wind Turbine Market </a:t>
            </a:r>
          </a:p>
        </p:txBody>
      </p:sp>
      <p:sp>
        <p:nvSpPr>
          <p:cNvPr id="8" name="TextBox 7">
            <a:extLst>
              <a:ext uri="{FF2B5EF4-FFF2-40B4-BE49-F238E27FC236}">
                <a16:creationId xmlns:a16="http://schemas.microsoft.com/office/drawing/2014/main" id="{CC547042-7CE4-54E6-6411-ADE13FFDB19A}"/>
              </a:ext>
            </a:extLst>
          </p:cNvPr>
          <p:cNvSpPr txBox="1"/>
          <p:nvPr/>
        </p:nvSpPr>
        <p:spPr>
          <a:xfrm>
            <a:off x="596901" y="2095304"/>
            <a:ext cx="5048350" cy="646331"/>
          </a:xfrm>
          <a:prstGeom prst="rect">
            <a:avLst/>
          </a:prstGeom>
          <a:noFill/>
        </p:spPr>
        <p:txBody>
          <a:bodyPr wrap="square" rtlCol="0">
            <a:spAutoFit/>
          </a:bodyPr>
          <a:lstStyle/>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There are 6 manufacturers of wind turbines in the US. Vestas and GE Wind dominates the manufacturing market.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p:txBody>
      </p:sp>
      <p:graphicFrame>
        <p:nvGraphicFramePr>
          <p:cNvPr id="117" name="Chart 116">
            <a:extLst>
              <a:ext uri="{FF2B5EF4-FFF2-40B4-BE49-F238E27FC236}">
                <a16:creationId xmlns:a16="http://schemas.microsoft.com/office/drawing/2014/main" id="{D6E7A857-3BE3-1EB5-2AB9-DF58BD08B612}"/>
              </a:ext>
            </a:extLst>
          </p:cNvPr>
          <p:cNvGraphicFramePr/>
          <p:nvPr>
            <p:custDataLst>
              <p:tags r:id="rId3"/>
            </p:custDataLst>
            <p:extLst>
              <p:ext uri="{D42A27DB-BD31-4B8C-83A1-F6EECF244321}">
                <p14:modId xmlns:p14="http://schemas.microsoft.com/office/powerpoint/2010/main" val="168570928"/>
              </p:ext>
            </p:extLst>
          </p:nvPr>
        </p:nvGraphicFramePr>
        <p:xfrm>
          <a:off x="6677025" y="2308225"/>
          <a:ext cx="5173663" cy="3425825"/>
        </p:xfrm>
        <a:graphic>
          <a:graphicData uri="http://schemas.openxmlformats.org/drawingml/2006/chart">
            <c:chart xmlns:c="http://schemas.openxmlformats.org/drawingml/2006/chart" xmlns:r="http://schemas.openxmlformats.org/officeDocument/2006/relationships" r:id="rId19"/>
          </a:graphicData>
        </a:graphic>
      </p:graphicFrame>
      <p:cxnSp>
        <p:nvCxnSpPr>
          <p:cNvPr id="65" name="Straight Connector 64">
            <a:extLst>
              <a:ext uri="{FF2B5EF4-FFF2-40B4-BE49-F238E27FC236}">
                <a16:creationId xmlns:a16="http://schemas.microsoft.com/office/drawing/2014/main" id="{F100D043-75D9-A212-6A22-E2938BAAE60E}"/>
              </a:ext>
            </a:extLst>
          </p:cNvPr>
          <p:cNvCxnSpPr/>
          <p:nvPr>
            <p:custDataLst>
              <p:tags r:id="rId4"/>
            </p:custDataLst>
          </p:nvPr>
        </p:nvCxnSpPr>
        <p:spPr bwMode="auto">
          <a:xfrm flipH="1">
            <a:off x="11550650" y="4967288"/>
            <a:ext cx="58738" cy="2651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05EDC53B-F3A5-CCC7-0671-DAE20116D6D1}"/>
              </a:ext>
            </a:extLst>
          </p:cNvPr>
          <p:cNvCxnSpPr/>
          <p:nvPr>
            <p:custDataLst>
              <p:tags r:id="rId5"/>
            </p:custDataLst>
          </p:nvPr>
        </p:nvCxnSpPr>
        <p:spPr bwMode="auto">
          <a:xfrm flipH="1">
            <a:off x="11550650" y="5183188"/>
            <a:ext cx="58738" cy="1047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5CBCD235-8410-C624-2304-052D83C0D4A3}"/>
              </a:ext>
            </a:extLst>
          </p:cNvPr>
          <p:cNvCxnSpPr/>
          <p:nvPr>
            <p:custDataLst>
              <p:tags r:id="rId6"/>
            </p:custDataLst>
          </p:nvPr>
        </p:nvCxnSpPr>
        <p:spPr bwMode="auto">
          <a:xfrm flipH="1">
            <a:off x="11550650" y="4535488"/>
            <a:ext cx="58738" cy="4794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3FCFA8DB-88B8-DC28-5FE1-D6E70898FDEE}"/>
              </a:ext>
            </a:extLst>
          </p:cNvPr>
          <p:cNvCxnSpPr/>
          <p:nvPr>
            <p:custDataLst>
              <p:tags r:id="rId7"/>
            </p:custDataLst>
          </p:nvPr>
        </p:nvCxnSpPr>
        <p:spPr bwMode="auto">
          <a:xfrm flipH="1">
            <a:off x="11550650" y="4751388"/>
            <a:ext cx="58738" cy="382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5FFF2E5F-A015-5A56-8BE4-412B1B813846}"/>
              </a:ext>
            </a:extLst>
          </p:cNvPr>
          <p:cNvCxnSpPr/>
          <p:nvPr>
            <p:custDataLst>
              <p:tags r:id="rId8"/>
            </p:custDataLst>
          </p:nvPr>
        </p:nvCxnSpPr>
        <p:spPr bwMode="auto">
          <a:xfrm flipH="1">
            <a:off x="11550649" y="4103687"/>
            <a:ext cx="58738" cy="4953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0FF8AAC-FC16-5F49-E0F3-BE3B78905AD9}"/>
              </a:ext>
            </a:extLst>
          </p:cNvPr>
          <p:cNvCxnSpPr/>
          <p:nvPr>
            <p:custDataLst>
              <p:tags r:id="rId9"/>
            </p:custDataLst>
          </p:nvPr>
        </p:nvCxnSpPr>
        <p:spPr bwMode="auto">
          <a:xfrm flipH="1">
            <a:off x="11550650" y="4319588"/>
            <a:ext cx="58738" cy="3841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Text Placeholder 2">
            <a:extLst>
              <a:ext uri="{FF2B5EF4-FFF2-40B4-BE49-F238E27FC236}">
                <a16:creationId xmlns:a16="http://schemas.microsoft.com/office/drawing/2014/main" id="{157E2803-2BF7-ABD7-C482-D7A3AD0399C5}"/>
              </a:ext>
            </a:extLst>
          </p:cNvPr>
          <p:cNvSpPr>
            <a:spLocks noGrp="1"/>
          </p:cNvSpPr>
          <p:nvPr>
            <p:custDataLst>
              <p:tags r:id="rId10"/>
            </p:custDataLst>
          </p:nvPr>
        </p:nvSpPr>
        <p:spPr bwMode="auto">
          <a:xfrm>
            <a:off x="11634788" y="4021138"/>
            <a:ext cx="395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5C6CE6F-1014-414E-A3C7-C030D8298743}" type="datetime'''''''V''e''''''''''s''''''''t''a''s'''''''''''">
              <a:rPr lang="en-AU" altLang="en-US" sz="1200" smtClean="0">
                <a:effectLst/>
              </a:rPr>
              <a:pPr marL="0" lvl="0" indent="0">
                <a:spcBef>
                  <a:spcPct val="0"/>
                </a:spcBef>
                <a:spcAft>
                  <a:spcPct val="0"/>
                </a:spcAft>
                <a:buNone/>
              </a:pPr>
              <a:t>Vestas</a:t>
            </a:fld>
            <a:endParaRPr lang="en-AU" sz="1200"/>
          </a:p>
        </p:txBody>
      </p:sp>
      <p:sp>
        <p:nvSpPr>
          <p:cNvPr id="46" name="Text Placeholder 2">
            <a:extLst>
              <a:ext uri="{FF2B5EF4-FFF2-40B4-BE49-F238E27FC236}">
                <a16:creationId xmlns:a16="http://schemas.microsoft.com/office/drawing/2014/main" id="{DAE92E55-4AC9-5E00-1DC8-C08851D3D5BF}"/>
              </a:ext>
            </a:extLst>
          </p:cNvPr>
          <p:cNvSpPr>
            <a:spLocks noGrp="1"/>
          </p:cNvSpPr>
          <p:nvPr>
            <p:custDataLst>
              <p:tags r:id="rId11"/>
            </p:custDataLst>
          </p:nvPr>
        </p:nvSpPr>
        <p:spPr bwMode="auto">
          <a:xfrm>
            <a:off x="11634788" y="4237038"/>
            <a:ext cx="534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120956-8726-4A92-846A-1946E0E6EF89}" type="datetime'''''''''G''''''''''''''''E ''''''Win''''d'''''">
              <a:rPr lang="en-AU" altLang="en-US" sz="1200" smtClean="0"/>
              <a:pPr marL="0" lvl="0" indent="0">
                <a:spcBef>
                  <a:spcPct val="0"/>
                </a:spcBef>
                <a:spcAft>
                  <a:spcPct val="0"/>
                </a:spcAft>
                <a:buNone/>
              </a:pPr>
              <a:t>GE Wind</a:t>
            </a:fld>
            <a:endParaRPr lang="en-AU" sz="1200"/>
          </a:p>
        </p:txBody>
      </p:sp>
      <p:sp>
        <p:nvSpPr>
          <p:cNvPr id="49" name="Text Placeholder 2">
            <a:extLst>
              <a:ext uri="{FF2B5EF4-FFF2-40B4-BE49-F238E27FC236}">
                <a16:creationId xmlns:a16="http://schemas.microsoft.com/office/drawing/2014/main" id="{AD67CEAD-175D-0847-C5C8-7CE7781BE82A}"/>
              </a:ext>
            </a:extLst>
          </p:cNvPr>
          <p:cNvSpPr>
            <a:spLocks noGrp="1"/>
          </p:cNvSpPr>
          <p:nvPr>
            <p:custDataLst>
              <p:tags r:id="rId12"/>
            </p:custDataLst>
          </p:nvPr>
        </p:nvSpPr>
        <p:spPr bwMode="auto">
          <a:xfrm>
            <a:off x="11634788" y="4452938"/>
            <a:ext cx="449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A48BDB-E102-4376-A51A-293FE5A5CED4}" type="datetime'''''''''''''N''''''or''''''''''''''''d''''''e''''x'''">
              <a:rPr lang="en-AU" altLang="en-US" sz="1200" smtClean="0"/>
              <a:pPr marL="0" lvl="0" indent="0">
                <a:spcBef>
                  <a:spcPct val="0"/>
                </a:spcBef>
                <a:spcAft>
                  <a:spcPct val="0"/>
                </a:spcAft>
                <a:buNone/>
              </a:pPr>
              <a:t>Nordex</a:t>
            </a:fld>
            <a:endParaRPr lang="en-AU" sz="1200"/>
          </a:p>
        </p:txBody>
      </p:sp>
      <p:sp>
        <p:nvSpPr>
          <p:cNvPr id="52" name="Text Placeholder 2">
            <a:extLst>
              <a:ext uri="{FF2B5EF4-FFF2-40B4-BE49-F238E27FC236}">
                <a16:creationId xmlns:a16="http://schemas.microsoft.com/office/drawing/2014/main" id="{B5EB1D99-5159-57D9-6A0C-7FB6EF23BA70}"/>
              </a:ext>
            </a:extLst>
          </p:cNvPr>
          <p:cNvSpPr>
            <a:spLocks noGrp="1"/>
          </p:cNvSpPr>
          <p:nvPr>
            <p:custDataLst>
              <p:tags r:id="rId13"/>
            </p:custDataLst>
          </p:nvPr>
        </p:nvSpPr>
        <p:spPr bwMode="auto">
          <a:xfrm>
            <a:off x="11634788" y="4668838"/>
            <a:ext cx="976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6A8543-3746-4F3F-A0C7-625724773CEB}" type="datetime'S''''''''''ie''m''e''''''''''''''''s'' Gam''e''''''s''''a'">
              <a:rPr lang="en-AU" altLang="en-US" sz="1200" smtClean="0"/>
              <a:pPr marL="0" lvl="0" indent="0">
                <a:spcBef>
                  <a:spcPct val="0"/>
                </a:spcBef>
                <a:spcAft>
                  <a:spcPct val="0"/>
                </a:spcAft>
                <a:buNone/>
              </a:pPr>
              <a:t>Siemes Gamesa</a:t>
            </a:fld>
            <a:endParaRPr lang="en-AU" sz="1200"/>
          </a:p>
        </p:txBody>
      </p:sp>
      <p:sp>
        <p:nvSpPr>
          <p:cNvPr id="55" name="Text Placeholder 2">
            <a:extLst>
              <a:ext uri="{FF2B5EF4-FFF2-40B4-BE49-F238E27FC236}">
                <a16:creationId xmlns:a16="http://schemas.microsoft.com/office/drawing/2014/main" id="{16E631E1-6AC2-FA6B-564A-6E8B6BAA41BF}"/>
              </a:ext>
            </a:extLst>
          </p:cNvPr>
          <p:cNvSpPr>
            <a:spLocks noGrp="1"/>
          </p:cNvSpPr>
          <p:nvPr>
            <p:custDataLst>
              <p:tags r:id="rId14"/>
            </p:custDataLst>
          </p:nvPr>
        </p:nvSpPr>
        <p:spPr bwMode="auto">
          <a:xfrm>
            <a:off x="11634788" y="4884738"/>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9CEC0D-588C-4E06-92A2-125DB1AC8BF1}" type="datetime'S''''''i''''''''''em''''''''''''e''''''''n''''''s'">
              <a:rPr lang="en-AU" altLang="en-US" sz="1200" smtClean="0"/>
              <a:pPr marL="0" lvl="0" indent="0">
                <a:spcBef>
                  <a:spcPct val="0"/>
                </a:spcBef>
                <a:spcAft>
                  <a:spcPct val="0"/>
                </a:spcAft>
                <a:buNone/>
              </a:pPr>
              <a:t>Siemens</a:t>
            </a:fld>
            <a:endParaRPr lang="en-AU" sz="1200"/>
          </a:p>
        </p:txBody>
      </p:sp>
      <p:sp>
        <p:nvSpPr>
          <p:cNvPr id="56" name="Text Placeholder 2">
            <a:extLst>
              <a:ext uri="{FF2B5EF4-FFF2-40B4-BE49-F238E27FC236}">
                <a16:creationId xmlns:a16="http://schemas.microsoft.com/office/drawing/2014/main" id="{6EBF9BFC-0D41-05F4-6CD5-72C4F3D246B7}"/>
              </a:ext>
            </a:extLst>
          </p:cNvPr>
          <p:cNvSpPr>
            <a:spLocks noGrp="1"/>
          </p:cNvSpPr>
          <p:nvPr>
            <p:custDataLst>
              <p:tags r:id="rId15"/>
            </p:custDataLst>
          </p:nvPr>
        </p:nvSpPr>
        <p:spPr bwMode="auto">
          <a:xfrm>
            <a:off x="11634788" y="5100638"/>
            <a:ext cx="5016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5C9B4F-EA03-47C3-A75B-0E9292C373E7}" type="datetime'''''''''''''''''G''''''''''''''''''a''''''m''''esa'''''''">
              <a:rPr lang="en-AU" altLang="en-US" sz="1200" smtClean="0"/>
              <a:pPr marL="0" lvl="0" indent="0">
                <a:spcBef>
                  <a:spcPct val="0"/>
                </a:spcBef>
                <a:spcAft>
                  <a:spcPct val="0"/>
                </a:spcAft>
                <a:buNone/>
              </a:pPr>
              <a:t>Gamesa</a:t>
            </a:fld>
            <a:endParaRPr lang="en-AU" sz="1200"/>
          </a:p>
        </p:txBody>
      </p:sp>
    </p:spTree>
    <p:extLst>
      <p:ext uri="{BB962C8B-B14F-4D97-AF65-F5344CB8AC3E}">
        <p14:creationId xmlns:p14="http://schemas.microsoft.com/office/powerpoint/2010/main" val="35518003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Operators Analysis | </a:t>
            </a:r>
            <a:r>
              <a:rPr lang="en-AU" sz="2400">
                <a:solidFill>
                  <a:schemeClr val="accent1"/>
                </a:solidFill>
                <a:latin typeface="Segoe UI Light" panose="020B0502040204020203" pitchFamily="34" charset="0"/>
                <a:cs typeface="Segoe UI Light" panose="020B0502040204020203" pitchFamily="34" charset="0"/>
              </a:rPr>
              <a:t>Key players in the market (cont.)  </a:t>
            </a:r>
          </a:p>
        </p:txBody>
      </p:sp>
      <p:sp>
        <p:nvSpPr>
          <p:cNvPr id="7" name="Rounded Rectangle 61">
            <a:extLst>
              <a:ext uri="{FF2B5EF4-FFF2-40B4-BE49-F238E27FC236}">
                <a16:creationId xmlns:a16="http://schemas.microsoft.com/office/drawing/2014/main" id="{1298E090-C9AF-DAA1-415F-5FE6C9F5A2B8}"/>
              </a:ext>
            </a:extLst>
          </p:cNvPr>
          <p:cNvSpPr/>
          <p:nvPr/>
        </p:nvSpPr>
        <p:spPr bwMode="gray">
          <a:xfrm>
            <a:off x="605232" y="1261875"/>
            <a:ext cx="3791628"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endParaRPr lang="en-AU" sz="1100" b="1">
              <a:latin typeface="Segoe UI Semibold"/>
              <a:cs typeface="Segoe UI Semibold"/>
            </a:endParaRPr>
          </a:p>
        </p:txBody>
      </p:sp>
      <p:pic>
        <p:nvPicPr>
          <p:cNvPr id="10" name="Picture 9" descr="A screenshot of a computer&#10;&#10;Description automatically generated">
            <a:extLst>
              <a:ext uri="{FF2B5EF4-FFF2-40B4-BE49-F238E27FC236}">
                <a16:creationId xmlns:a16="http://schemas.microsoft.com/office/drawing/2014/main" id="{CF752B3D-9867-B01C-CBC6-DE6C4F947734}"/>
              </a:ext>
            </a:extLst>
          </p:cNvPr>
          <p:cNvPicPr>
            <a:picLocks noChangeAspect="1"/>
          </p:cNvPicPr>
          <p:nvPr/>
        </p:nvPicPr>
        <p:blipFill>
          <a:blip r:embed="rId6"/>
          <a:stretch>
            <a:fillRect/>
          </a:stretch>
        </p:blipFill>
        <p:spPr>
          <a:xfrm>
            <a:off x="4516583" y="1713363"/>
            <a:ext cx="6179126" cy="4567349"/>
          </a:xfrm>
          <a:prstGeom prst="rect">
            <a:avLst/>
          </a:prstGeom>
        </p:spPr>
      </p:pic>
      <p:sp>
        <p:nvSpPr>
          <p:cNvPr id="11" name="TextBox 10">
            <a:extLst>
              <a:ext uri="{FF2B5EF4-FFF2-40B4-BE49-F238E27FC236}">
                <a16:creationId xmlns:a16="http://schemas.microsoft.com/office/drawing/2014/main" id="{51ABDB50-1370-FADA-A475-86B3144AFE9E}"/>
              </a:ext>
            </a:extLst>
          </p:cNvPr>
          <p:cNvSpPr txBox="1"/>
          <p:nvPr/>
        </p:nvSpPr>
        <p:spPr>
          <a:xfrm>
            <a:off x="609600" y="1898073"/>
            <a:ext cx="340821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333333"/>
                </a:solidFill>
                <a:latin typeface="Tableau Book"/>
              </a:rPr>
              <a:t>Plant count by Commissioning Year</a:t>
            </a:r>
          </a:p>
        </p:txBody>
      </p:sp>
    </p:spTree>
    <p:extLst>
      <p:ext uri="{BB962C8B-B14F-4D97-AF65-F5344CB8AC3E}">
        <p14:creationId xmlns:p14="http://schemas.microsoft.com/office/powerpoint/2010/main" val="40506714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9D412E8-4155-A22F-8029-8CA7776EA7A2}"/>
              </a:ext>
            </a:extLst>
          </p:cNvPr>
          <p:cNvPicPr>
            <a:picLocks noChangeAspect="1"/>
          </p:cNvPicPr>
          <p:nvPr/>
        </p:nvPicPr>
        <p:blipFill>
          <a:blip r:embed="rId2"/>
          <a:stretch>
            <a:fillRect/>
          </a:stretch>
        </p:blipFill>
        <p:spPr>
          <a:xfrm>
            <a:off x="1366683" y="198719"/>
            <a:ext cx="8937523" cy="6241409"/>
          </a:xfrm>
          <a:prstGeom prst="rect">
            <a:avLst/>
          </a:prstGeom>
        </p:spPr>
      </p:pic>
    </p:spTree>
    <p:extLst>
      <p:ext uri="{BB962C8B-B14F-4D97-AF65-F5344CB8AC3E}">
        <p14:creationId xmlns:p14="http://schemas.microsoft.com/office/powerpoint/2010/main" val="2094388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Wind Turbine Market | </a:t>
            </a:r>
            <a:r>
              <a:rPr lang="en-AU" sz="2400">
                <a:solidFill>
                  <a:schemeClr val="accent1"/>
                </a:solidFill>
                <a:latin typeface="Segoe UI Light" panose="020B0502040204020203" pitchFamily="34" charset="0"/>
                <a:cs typeface="Segoe UI Light" panose="020B0502040204020203" pitchFamily="34" charset="0"/>
              </a:rPr>
              <a:t>US Market</a:t>
            </a:r>
          </a:p>
        </p:txBody>
      </p:sp>
      <p:pic>
        <p:nvPicPr>
          <p:cNvPr id="2" name="Picture 1" descr="A map of the united states with numbers and colored circles&#10;&#10;Description automatically generated">
            <a:extLst>
              <a:ext uri="{FF2B5EF4-FFF2-40B4-BE49-F238E27FC236}">
                <a16:creationId xmlns:a16="http://schemas.microsoft.com/office/drawing/2014/main" id="{347ED320-D52D-3C94-67D1-E28841100B35}"/>
              </a:ext>
            </a:extLst>
          </p:cNvPr>
          <p:cNvPicPr>
            <a:picLocks noChangeAspect="1"/>
          </p:cNvPicPr>
          <p:nvPr/>
        </p:nvPicPr>
        <p:blipFill rotWithShape="1">
          <a:blip r:embed="rId7"/>
          <a:srcRect l="16529"/>
          <a:stretch/>
        </p:blipFill>
        <p:spPr>
          <a:xfrm>
            <a:off x="3819525" y="1131414"/>
            <a:ext cx="5868265" cy="5291943"/>
          </a:xfrm>
          <a:prstGeom prst="rect">
            <a:avLst/>
          </a:prstGeom>
        </p:spPr>
      </p:pic>
      <p:sp>
        <p:nvSpPr>
          <p:cNvPr id="3" name="TextBox 2">
            <a:extLst>
              <a:ext uri="{FF2B5EF4-FFF2-40B4-BE49-F238E27FC236}">
                <a16:creationId xmlns:a16="http://schemas.microsoft.com/office/drawing/2014/main" id="{29A66A0F-D835-598C-25CA-043E00904710}"/>
              </a:ext>
            </a:extLst>
          </p:cNvPr>
          <p:cNvSpPr txBox="1"/>
          <p:nvPr/>
        </p:nvSpPr>
        <p:spPr>
          <a:xfrm>
            <a:off x="1981408" y="1404057"/>
            <a:ext cx="1495425" cy="584775"/>
          </a:xfrm>
          <a:prstGeom prst="rect">
            <a:avLst/>
          </a:prstGeom>
          <a:noFill/>
        </p:spPr>
        <p:txBody>
          <a:bodyPr wrap="square" rtlCol="0">
            <a:spAutoFit/>
          </a:bodyPr>
          <a:lstStyle/>
          <a:p>
            <a:r>
              <a:rPr lang="en-AU" sz="1600">
                <a:latin typeface="Segoe UI Light" panose="020B0502040204020203" pitchFamily="34" charset="0"/>
                <a:cs typeface="Segoe UI Light" panose="020B0502040204020203" pitchFamily="34" charset="0"/>
              </a:rPr>
              <a:t>Number of plants: </a:t>
            </a:r>
            <a:r>
              <a:rPr lang="en-AU" sz="1600" b="1">
                <a:latin typeface="Segoe UI Light" panose="020B0502040204020203" pitchFamily="34" charset="0"/>
                <a:cs typeface="Segoe UI Light" panose="020B0502040204020203" pitchFamily="34" charset="0"/>
              </a:rPr>
              <a:t>1,160</a:t>
            </a:r>
          </a:p>
        </p:txBody>
      </p:sp>
      <p:sp>
        <p:nvSpPr>
          <p:cNvPr id="6" name="TextBox 5">
            <a:extLst>
              <a:ext uri="{FF2B5EF4-FFF2-40B4-BE49-F238E27FC236}">
                <a16:creationId xmlns:a16="http://schemas.microsoft.com/office/drawing/2014/main" id="{E39E7E6C-812E-3508-E647-0E81631B5B9D}"/>
              </a:ext>
            </a:extLst>
          </p:cNvPr>
          <p:cNvSpPr txBox="1"/>
          <p:nvPr/>
        </p:nvSpPr>
        <p:spPr>
          <a:xfrm>
            <a:off x="1981408" y="2296441"/>
            <a:ext cx="1495425" cy="830997"/>
          </a:xfrm>
          <a:prstGeom prst="rect">
            <a:avLst/>
          </a:prstGeom>
          <a:noFill/>
        </p:spPr>
        <p:txBody>
          <a:bodyPr wrap="square" rtlCol="0">
            <a:spAutoFit/>
          </a:bodyPr>
          <a:lstStyle/>
          <a:p>
            <a:r>
              <a:rPr lang="en-AU" sz="1600">
                <a:latin typeface="Segoe UI Light" panose="020B0502040204020203" pitchFamily="34" charset="0"/>
                <a:cs typeface="Segoe UI Light" panose="020B0502040204020203" pitchFamily="34" charset="0"/>
              </a:rPr>
              <a:t>Total number of turbines: </a:t>
            </a:r>
            <a:r>
              <a:rPr lang="en-AU" sz="1600" b="1">
                <a:latin typeface="Segoe UI Light" panose="020B0502040204020203" pitchFamily="34" charset="0"/>
                <a:cs typeface="Segoe UI Light" panose="020B0502040204020203" pitchFamily="34" charset="0"/>
              </a:rPr>
              <a:t>73,009</a:t>
            </a:r>
          </a:p>
        </p:txBody>
      </p:sp>
      <p:sp>
        <p:nvSpPr>
          <p:cNvPr id="7" name="TextBox 6">
            <a:extLst>
              <a:ext uri="{FF2B5EF4-FFF2-40B4-BE49-F238E27FC236}">
                <a16:creationId xmlns:a16="http://schemas.microsoft.com/office/drawing/2014/main" id="{9B00AF1A-A8E0-9DC4-8223-59C603AE606F}"/>
              </a:ext>
            </a:extLst>
          </p:cNvPr>
          <p:cNvSpPr txBox="1"/>
          <p:nvPr/>
        </p:nvSpPr>
        <p:spPr>
          <a:xfrm>
            <a:off x="1981408" y="3435048"/>
            <a:ext cx="1495425" cy="584775"/>
          </a:xfrm>
          <a:prstGeom prst="rect">
            <a:avLst/>
          </a:prstGeom>
          <a:noFill/>
        </p:spPr>
        <p:txBody>
          <a:bodyPr wrap="square" rtlCol="0">
            <a:spAutoFit/>
          </a:bodyPr>
          <a:lstStyle/>
          <a:p>
            <a:r>
              <a:rPr lang="en-AU" sz="1600">
                <a:latin typeface="Segoe UI Light" panose="020B0502040204020203" pitchFamily="34" charset="0"/>
                <a:cs typeface="Segoe UI Light" panose="020B0502040204020203" pitchFamily="34" charset="0"/>
              </a:rPr>
              <a:t>Number of operators: </a:t>
            </a:r>
            <a:r>
              <a:rPr lang="en-AU" sz="1600" b="1">
                <a:latin typeface="Segoe UI Light" panose="020B0502040204020203" pitchFamily="34" charset="0"/>
                <a:cs typeface="Segoe UI Light" panose="020B0502040204020203" pitchFamily="34" charset="0"/>
              </a:rPr>
              <a:t>213</a:t>
            </a:r>
          </a:p>
        </p:txBody>
      </p:sp>
      <p:sp>
        <p:nvSpPr>
          <p:cNvPr id="8" name="TextBox 7">
            <a:extLst>
              <a:ext uri="{FF2B5EF4-FFF2-40B4-BE49-F238E27FC236}">
                <a16:creationId xmlns:a16="http://schemas.microsoft.com/office/drawing/2014/main" id="{8220F388-ECB3-B051-ABA9-16237165064A}"/>
              </a:ext>
            </a:extLst>
          </p:cNvPr>
          <p:cNvSpPr txBox="1"/>
          <p:nvPr/>
        </p:nvSpPr>
        <p:spPr>
          <a:xfrm>
            <a:off x="1981408" y="4327432"/>
            <a:ext cx="1495425" cy="830997"/>
          </a:xfrm>
          <a:prstGeom prst="rect">
            <a:avLst/>
          </a:prstGeom>
          <a:noFill/>
        </p:spPr>
        <p:txBody>
          <a:bodyPr wrap="square" rtlCol="0">
            <a:spAutoFit/>
          </a:bodyPr>
          <a:lstStyle/>
          <a:p>
            <a:r>
              <a:rPr lang="en-AU" sz="1600">
                <a:latin typeface="Segoe UI Light" panose="020B0502040204020203" pitchFamily="34" charset="0"/>
                <a:cs typeface="Segoe UI Light" panose="020B0502040204020203" pitchFamily="34" charset="0"/>
              </a:rPr>
              <a:t>Total rated capacity: </a:t>
            </a:r>
            <a:r>
              <a:rPr lang="en-AU" sz="1600" b="1">
                <a:latin typeface="Segoe UI Light" panose="020B0502040204020203" pitchFamily="34" charset="0"/>
                <a:cs typeface="Segoe UI Light" panose="020B0502040204020203" pitchFamily="34" charset="0"/>
              </a:rPr>
              <a:t>129,944k MW</a:t>
            </a:r>
          </a:p>
        </p:txBody>
      </p:sp>
      <p:sp>
        <p:nvSpPr>
          <p:cNvPr id="9" name="TextBox 8">
            <a:extLst>
              <a:ext uri="{FF2B5EF4-FFF2-40B4-BE49-F238E27FC236}">
                <a16:creationId xmlns:a16="http://schemas.microsoft.com/office/drawing/2014/main" id="{BCC573A9-7409-8A58-4B6B-372E227E4226}"/>
              </a:ext>
            </a:extLst>
          </p:cNvPr>
          <p:cNvSpPr txBox="1"/>
          <p:nvPr/>
        </p:nvSpPr>
        <p:spPr>
          <a:xfrm>
            <a:off x="1981408" y="5466039"/>
            <a:ext cx="1495425" cy="1077218"/>
          </a:xfrm>
          <a:prstGeom prst="rect">
            <a:avLst/>
          </a:prstGeom>
          <a:noFill/>
        </p:spPr>
        <p:txBody>
          <a:bodyPr wrap="square" rtlCol="0">
            <a:spAutoFit/>
          </a:bodyPr>
          <a:lstStyle/>
          <a:p>
            <a:r>
              <a:rPr lang="en-AU" sz="1600">
                <a:latin typeface="Segoe UI Light" panose="020B0502040204020203" pitchFamily="34" charset="0"/>
                <a:cs typeface="Segoe UI Light" panose="020B0502040204020203" pitchFamily="34" charset="0"/>
              </a:rPr>
              <a:t>Total net generation in 2021: </a:t>
            </a:r>
            <a:r>
              <a:rPr lang="en-AU" sz="1600" b="1">
                <a:latin typeface="Segoe UI Light" panose="020B0502040204020203" pitchFamily="34" charset="0"/>
                <a:cs typeface="Segoe UI Light" panose="020B0502040204020203" pitchFamily="34" charset="0"/>
              </a:rPr>
              <a:t>36,688m MW</a:t>
            </a:r>
          </a:p>
        </p:txBody>
      </p:sp>
      <p:sp>
        <p:nvSpPr>
          <p:cNvPr id="10" name="Rectangle 9">
            <a:extLst>
              <a:ext uri="{FF2B5EF4-FFF2-40B4-BE49-F238E27FC236}">
                <a16:creationId xmlns:a16="http://schemas.microsoft.com/office/drawing/2014/main" id="{EDA925D1-94E7-21C4-A564-1356E44FF74D}"/>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spTree>
    <p:extLst>
      <p:ext uri="{BB962C8B-B14F-4D97-AF65-F5344CB8AC3E}">
        <p14:creationId xmlns:p14="http://schemas.microsoft.com/office/powerpoint/2010/main" val="3877301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extLst>
              <p:ext uri="{D42A27DB-BD31-4B8C-83A1-F6EECF244321}">
                <p14:modId xmlns:p14="http://schemas.microsoft.com/office/powerpoint/2010/main" val="163488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5" imgW="592" imgH="591" progId="TCLayout.ActiveDocument.1">
                  <p:embed/>
                </p:oleObj>
              </mc:Choice>
              <mc:Fallback>
                <p:oleObj name="think-cell Slide" r:id="rId5"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panose="020B0502040204020203" pitchFamily="34" charset="0"/>
                <a:cs typeface="Segoe UI Light" panose="020B0502040204020203" pitchFamily="34" charset="0"/>
              </a:rPr>
              <a:t>Wind Turbine Market | </a:t>
            </a:r>
            <a:r>
              <a:rPr lang="en-AU" sz="2400">
                <a:solidFill>
                  <a:schemeClr val="accent1"/>
                </a:solidFill>
                <a:latin typeface="Segoe UI Light" panose="020B0502040204020203" pitchFamily="34" charset="0"/>
                <a:cs typeface="Segoe UI Light" panose="020B0502040204020203" pitchFamily="34" charset="0"/>
              </a:rPr>
              <a:t>US Market</a:t>
            </a:r>
          </a:p>
        </p:txBody>
      </p:sp>
      <p:sp>
        <p:nvSpPr>
          <p:cNvPr id="8" name="Rounded Rectangle 61">
            <a:extLst>
              <a:ext uri="{FF2B5EF4-FFF2-40B4-BE49-F238E27FC236}">
                <a16:creationId xmlns:a16="http://schemas.microsoft.com/office/drawing/2014/main" id="{9F7B95B8-AC36-6F99-57AD-248FF243E3A7}"/>
              </a:ext>
            </a:extLst>
          </p:cNvPr>
          <p:cNvSpPr/>
          <p:nvPr/>
        </p:nvSpPr>
        <p:spPr bwMode="gray">
          <a:xfrm>
            <a:off x="614757" y="1633962"/>
            <a:ext cx="10796193"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panose="020B0702040204020203" pitchFamily="34" charset="0"/>
                <a:cs typeface="Segoe UI Semibold" panose="020B0702040204020203" pitchFamily="34" charset="0"/>
              </a:rPr>
              <a:t>US Wind Turbine Market | Turbine Capacity over time (kW)  </a:t>
            </a:r>
          </a:p>
        </p:txBody>
      </p:sp>
      <p:sp>
        <p:nvSpPr>
          <p:cNvPr id="10" name="Rectangle 9">
            <a:extLst>
              <a:ext uri="{FF2B5EF4-FFF2-40B4-BE49-F238E27FC236}">
                <a16:creationId xmlns:a16="http://schemas.microsoft.com/office/drawing/2014/main" id="{B945988D-03E3-FAF8-0FAF-D283938CF2AD}"/>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L</a:t>
            </a:r>
          </a:p>
        </p:txBody>
      </p:sp>
      <p:pic>
        <p:nvPicPr>
          <p:cNvPr id="11" name="slide2" descr="Q13 Dashboard_2">
            <a:extLst>
              <a:ext uri="{FF2B5EF4-FFF2-40B4-BE49-F238E27FC236}">
                <a16:creationId xmlns:a16="http://schemas.microsoft.com/office/drawing/2014/main" id="{C73CDF35-AC4E-166A-1A45-38368D016730}"/>
              </a:ext>
            </a:extLst>
          </p:cNvPr>
          <p:cNvPicPr>
            <a:picLocks noChangeAspect="1"/>
          </p:cNvPicPr>
          <p:nvPr/>
        </p:nvPicPr>
        <p:blipFill rotWithShape="1">
          <a:blip r:embed="rId7">
            <a:extLst>
              <a:ext uri="{28A0092B-C50C-407E-A947-70E740481C1C}">
                <a14:useLocalDpi xmlns:a14="http://schemas.microsoft.com/office/drawing/2010/main" val="0"/>
              </a:ext>
            </a:extLst>
          </a:blip>
          <a:srcRect l="7388" t="35874" r="26454" b="17212"/>
          <a:stretch/>
        </p:blipFill>
        <p:spPr>
          <a:xfrm>
            <a:off x="777006" y="4012917"/>
            <a:ext cx="3368688" cy="1911067"/>
          </a:xfrm>
          <a:prstGeom prst="rect">
            <a:avLst/>
          </a:prstGeom>
        </p:spPr>
      </p:pic>
      <p:pic>
        <p:nvPicPr>
          <p:cNvPr id="12" name="slide2" descr="Q13 Dashboard_2">
            <a:extLst>
              <a:ext uri="{FF2B5EF4-FFF2-40B4-BE49-F238E27FC236}">
                <a16:creationId xmlns:a16="http://schemas.microsoft.com/office/drawing/2014/main" id="{C3F10A0A-D321-CB27-FC91-1A5D5C85E771}"/>
              </a:ext>
            </a:extLst>
          </p:cNvPr>
          <p:cNvPicPr>
            <a:picLocks noChangeAspect="1"/>
          </p:cNvPicPr>
          <p:nvPr/>
        </p:nvPicPr>
        <p:blipFill rotWithShape="1">
          <a:blip r:embed="rId8">
            <a:extLst>
              <a:ext uri="{28A0092B-C50C-407E-A947-70E740481C1C}">
                <a14:useLocalDpi xmlns:a14="http://schemas.microsoft.com/office/drawing/2010/main" val="0"/>
              </a:ext>
            </a:extLst>
          </a:blip>
          <a:srcRect l="7390" t="35873" r="26454" b="17212"/>
          <a:stretch/>
        </p:blipFill>
        <p:spPr>
          <a:xfrm>
            <a:off x="4443193" y="4012917"/>
            <a:ext cx="3368688" cy="1911067"/>
          </a:xfrm>
          <a:prstGeom prst="rect">
            <a:avLst/>
          </a:prstGeom>
        </p:spPr>
      </p:pic>
      <p:pic>
        <p:nvPicPr>
          <p:cNvPr id="13" name="slide2" descr="Q13 Dashboard_2">
            <a:extLst>
              <a:ext uri="{FF2B5EF4-FFF2-40B4-BE49-F238E27FC236}">
                <a16:creationId xmlns:a16="http://schemas.microsoft.com/office/drawing/2014/main" id="{128E4CBA-BF48-32FD-5D35-23D31B5C4835}"/>
              </a:ext>
            </a:extLst>
          </p:cNvPr>
          <p:cNvPicPr>
            <a:picLocks noChangeAspect="1"/>
          </p:cNvPicPr>
          <p:nvPr/>
        </p:nvPicPr>
        <p:blipFill rotWithShape="1">
          <a:blip r:embed="rId9">
            <a:extLst>
              <a:ext uri="{28A0092B-C50C-407E-A947-70E740481C1C}">
                <a14:useLocalDpi xmlns:a14="http://schemas.microsoft.com/office/drawing/2010/main" val="0"/>
              </a:ext>
            </a:extLst>
          </a:blip>
          <a:srcRect l="8400" t="35873" r="25442" b="17214"/>
          <a:stretch/>
        </p:blipFill>
        <p:spPr>
          <a:xfrm>
            <a:off x="8109381" y="4018176"/>
            <a:ext cx="3460820" cy="1963333"/>
          </a:xfrm>
          <a:prstGeom prst="rect">
            <a:avLst/>
          </a:prstGeom>
        </p:spPr>
      </p:pic>
      <p:sp>
        <p:nvSpPr>
          <p:cNvPr id="14" name="TextBox 13">
            <a:extLst>
              <a:ext uri="{FF2B5EF4-FFF2-40B4-BE49-F238E27FC236}">
                <a16:creationId xmlns:a16="http://schemas.microsoft.com/office/drawing/2014/main" id="{C98E6FBE-B764-62B7-45CF-184DE0D51F6E}"/>
              </a:ext>
            </a:extLst>
          </p:cNvPr>
          <p:cNvSpPr txBox="1"/>
          <p:nvPr/>
        </p:nvSpPr>
        <p:spPr>
          <a:xfrm>
            <a:off x="777006" y="3740335"/>
            <a:ext cx="683934" cy="276999"/>
          </a:xfrm>
          <a:prstGeom prst="rect">
            <a:avLst/>
          </a:prstGeom>
          <a:noFill/>
        </p:spPr>
        <p:txBody>
          <a:bodyPr wrap="square" rtlCol="0">
            <a:spAutoFit/>
          </a:bodyPr>
          <a:lstStyle/>
          <a:p>
            <a:r>
              <a:rPr lang="en-AU" sz="1200" b="1">
                <a:latin typeface="Segoe UI Light" panose="020B0502040204020203" pitchFamily="34" charset="0"/>
                <a:cs typeface="Segoe UI Light" panose="020B0502040204020203" pitchFamily="34" charset="0"/>
              </a:rPr>
              <a:t>2017</a:t>
            </a:r>
          </a:p>
        </p:txBody>
      </p:sp>
      <p:sp>
        <p:nvSpPr>
          <p:cNvPr id="15" name="TextBox 14">
            <a:extLst>
              <a:ext uri="{FF2B5EF4-FFF2-40B4-BE49-F238E27FC236}">
                <a16:creationId xmlns:a16="http://schemas.microsoft.com/office/drawing/2014/main" id="{CE7E7A43-7BFE-1C3D-BDC6-0C1AB6680BC2}"/>
              </a:ext>
            </a:extLst>
          </p:cNvPr>
          <p:cNvSpPr txBox="1"/>
          <p:nvPr/>
        </p:nvSpPr>
        <p:spPr>
          <a:xfrm>
            <a:off x="4443193" y="3705545"/>
            <a:ext cx="683934" cy="276999"/>
          </a:xfrm>
          <a:prstGeom prst="rect">
            <a:avLst/>
          </a:prstGeom>
          <a:noFill/>
        </p:spPr>
        <p:txBody>
          <a:bodyPr wrap="square" rtlCol="0">
            <a:spAutoFit/>
          </a:bodyPr>
          <a:lstStyle/>
          <a:p>
            <a:r>
              <a:rPr lang="en-AU" sz="1200" b="1">
                <a:latin typeface="Segoe UI Light" panose="020B0502040204020203" pitchFamily="34" charset="0"/>
                <a:cs typeface="Segoe UI Light" panose="020B0502040204020203" pitchFamily="34" charset="0"/>
              </a:rPr>
              <a:t>2019</a:t>
            </a:r>
          </a:p>
        </p:txBody>
      </p:sp>
      <p:sp>
        <p:nvSpPr>
          <p:cNvPr id="16" name="TextBox 15">
            <a:extLst>
              <a:ext uri="{FF2B5EF4-FFF2-40B4-BE49-F238E27FC236}">
                <a16:creationId xmlns:a16="http://schemas.microsoft.com/office/drawing/2014/main" id="{FC95D5FC-20BA-1896-7891-FC816B8DFDE6}"/>
              </a:ext>
            </a:extLst>
          </p:cNvPr>
          <p:cNvSpPr txBox="1"/>
          <p:nvPr/>
        </p:nvSpPr>
        <p:spPr>
          <a:xfrm>
            <a:off x="8109380" y="3705544"/>
            <a:ext cx="683934" cy="276999"/>
          </a:xfrm>
          <a:prstGeom prst="rect">
            <a:avLst/>
          </a:prstGeom>
          <a:noFill/>
        </p:spPr>
        <p:txBody>
          <a:bodyPr wrap="square" rtlCol="0">
            <a:spAutoFit/>
          </a:bodyPr>
          <a:lstStyle/>
          <a:p>
            <a:r>
              <a:rPr lang="en-AU" sz="1200" b="1">
                <a:latin typeface="Segoe UI Light" panose="020B0502040204020203" pitchFamily="34" charset="0"/>
                <a:cs typeface="Segoe UI Light" panose="020B0502040204020203" pitchFamily="34" charset="0"/>
              </a:rPr>
              <a:t>2021</a:t>
            </a:r>
          </a:p>
        </p:txBody>
      </p:sp>
      <p:sp>
        <p:nvSpPr>
          <p:cNvPr id="17" name="TextBox 16">
            <a:extLst>
              <a:ext uri="{FF2B5EF4-FFF2-40B4-BE49-F238E27FC236}">
                <a16:creationId xmlns:a16="http://schemas.microsoft.com/office/drawing/2014/main" id="{36B4CB87-4F6D-1C20-1500-9B9BFA531659}"/>
              </a:ext>
            </a:extLst>
          </p:cNvPr>
          <p:cNvSpPr txBox="1"/>
          <p:nvPr/>
        </p:nvSpPr>
        <p:spPr>
          <a:xfrm>
            <a:off x="605232" y="1900830"/>
            <a:ext cx="5048350" cy="1938992"/>
          </a:xfrm>
          <a:prstGeom prst="rect">
            <a:avLst/>
          </a:prstGeom>
          <a:noFill/>
        </p:spPr>
        <p:txBody>
          <a:bodyPr wrap="square" rtlCol="0">
            <a:spAutoFit/>
          </a:bodyPr>
          <a:lstStyle/>
          <a:p>
            <a:pPr marL="171450" indent="-171450">
              <a:buFont typeface="Arial" panose="020B0604020202020204" pitchFamily="34" charset="0"/>
              <a:buChar char="•"/>
            </a:pPr>
            <a:r>
              <a:rPr lang="en-AU" sz="1200">
                <a:latin typeface="Segoe UI Light" panose="020B0502040204020203" pitchFamily="34" charset="0"/>
                <a:cs typeface="Segoe UI Light" panose="020B0502040204020203" pitchFamily="34" charset="0"/>
              </a:rPr>
              <a:t>Within the US, Texas has the highest electricity capacity by a significant margin out of all US states in 2021, this is approximately c. 34.6m kilowatts (kW).This is followed by Iowa at 12m kW</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Texas has remained the state with the greatest additional electricity capacity for all years from 2017 to 2021. </a:t>
            </a:r>
          </a:p>
          <a:p>
            <a:pPr marL="174625" indent="-174625">
              <a:buFont typeface="Arial" panose="020B0604020202020204" pitchFamily="34" charset="0"/>
              <a:buChar char="•"/>
            </a:pPr>
            <a:endParaRPr lang="en-AU" sz="1200">
              <a:latin typeface="Segoe UI Light" panose="020B0502040204020203" pitchFamily="34" charset="0"/>
              <a:cs typeface="Segoe UI Light" panose="020B0502040204020203" pitchFamily="34" charset="0"/>
            </a:endParaRPr>
          </a:p>
          <a:p>
            <a:pPr marL="174625" indent="-174625">
              <a:buFont typeface="Arial" panose="020B0604020202020204" pitchFamily="34" charset="0"/>
              <a:buChar char="•"/>
            </a:pPr>
            <a:r>
              <a:rPr lang="en-AU" sz="1200">
                <a:latin typeface="Segoe UI Light" panose="020B0502040204020203" pitchFamily="34" charset="0"/>
                <a:cs typeface="Segoe UI Light" panose="020B0502040204020203" pitchFamily="34" charset="0"/>
              </a:rPr>
              <a:t>It is also worth noting that the Midwest has the highest number of turbines. Texas has approx. 17,000 wind turbines and Oklahoma has approx. 4,900 wind turbines. </a:t>
            </a:r>
          </a:p>
        </p:txBody>
      </p:sp>
    </p:spTree>
    <p:extLst>
      <p:ext uri="{BB962C8B-B14F-4D97-AF65-F5344CB8AC3E}">
        <p14:creationId xmlns:p14="http://schemas.microsoft.com/office/powerpoint/2010/main" val="2867288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a:cs typeface="Segoe UI Light"/>
              </a:rPr>
              <a:t>Wind Turbine Market | </a:t>
            </a:r>
            <a:r>
              <a:rPr lang="en-AU" sz="2400">
                <a:solidFill>
                  <a:schemeClr val="accent1"/>
                </a:solidFill>
                <a:latin typeface="Segoe UI Light"/>
                <a:cs typeface="Segoe UI Light"/>
              </a:rPr>
              <a:t>Revenue</a:t>
            </a:r>
            <a:endParaRPr lang="en-AU" sz="2400">
              <a:solidFill>
                <a:schemeClr val="accent1"/>
              </a:solidFill>
              <a:latin typeface="Segoe UI Light" panose="020B0502040204020203" pitchFamily="34" charset="0"/>
              <a:cs typeface="Segoe UI Light" panose="020B0502040204020203" pitchFamily="34" charset="0"/>
            </a:endParaRPr>
          </a:p>
        </p:txBody>
      </p:sp>
      <p:sp>
        <p:nvSpPr>
          <p:cNvPr id="6" name="Text Placeholder 2">
            <a:extLst>
              <a:ext uri="{FF2B5EF4-FFF2-40B4-BE49-F238E27FC236}">
                <a16:creationId xmlns:a16="http://schemas.microsoft.com/office/drawing/2014/main" id="{95F89051-279F-98F0-F3A3-E8717CF3EC24}"/>
              </a:ext>
            </a:extLst>
          </p:cNvPr>
          <p:cNvSpPr txBox="1">
            <a:spLocks/>
          </p:cNvSpPr>
          <p:nvPr/>
        </p:nvSpPr>
        <p:spPr>
          <a:xfrm>
            <a:off x="614757" y="1077569"/>
            <a:ext cx="10897920" cy="457968"/>
          </a:xfrm>
          <a:prstGeom prst="rect">
            <a:avLst/>
          </a:prstGeom>
        </p:spPr>
        <p:txBody>
          <a:bodyPr lIns="0"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AU" sz="1400">
              <a:latin typeface="Segoe UI Light" panose="020B0502040204020203" pitchFamily="34" charset="0"/>
              <a:cs typeface="Segoe UI Light" panose="020B0502040204020203" pitchFamily="34" charset="0"/>
            </a:endParaRPr>
          </a:p>
        </p:txBody>
      </p:sp>
      <p:sp>
        <p:nvSpPr>
          <p:cNvPr id="2" name="Rounded Rectangle 61">
            <a:extLst>
              <a:ext uri="{FF2B5EF4-FFF2-40B4-BE49-F238E27FC236}">
                <a16:creationId xmlns:a16="http://schemas.microsoft.com/office/drawing/2014/main" id="{0A75B4C7-E620-27F2-4C08-D763BE9B9F7A}"/>
              </a:ext>
            </a:extLst>
          </p:cNvPr>
          <p:cNvSpPr/>
          <p:nvPr/>
        </p:nvSpPr>
        <p:spPr bwMode="gray">
          <a:xfrm>
            <a:off x="6630889"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Revenue Per Turbine, per Operator</a:t>
            </a:r>
          </a:p>
        </p:txBody>
      </p:sp>
      <p:sp>
        <p:nvSpPr>
          <p:cNvPr id="3" name="Freeform 584">
            <a:extLst>
              <a:ext uri="{FF2B5EF4-FFF2-40B4-BE49-F238E27FC236}">
                <a16:creationId xmlns:a16="http://schemas.microsoft.com/office/drawing/2014/main" id="{4D39D4C2-4EA6-EE8F-5F3C-B3C24C0894BA}"/>
              </a:ext>
            </a:extLst>
          </p:cNvPr>
          <p:cNvSpPr>
            <a:spLocks noChangeAspect="1" noEditPoints="1"/>
          </p:cNvSpPr>
          <p:nvPr/>
        </p:nvSpPr>
        <p:spPr bwMode="auto">
          <a:xfrm>
            <a:off x="6528896" y="1633962"/>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7" name="Rounded Rectangle 61">
            <a:extLst>
              <a:ext uri="{FF2B5EF4-FFF2-40B4-BE49-F238E27FC236}">
                <a16:creationId xmlns:a16="http://schemas.microsoft.com/office/drawing/2014/main" id="{7D1DB623-6192-2888-9F62-A037949F23BC}"/>
              </a:ext>
            </a:extLst>
          </p:cNvPr>
          <p:cNvSpPr/>
          <p:nvPr/>
        </p:nvSpPr>
        <p:spPr bwMode="gray">
          <a:xfrm>
            <a:off x="614757"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Revenue Trend of the Turbine industry</a:t>
            </a:r>
          </a:p>
        </p:txBody>
      </p:sp>
      <p:sp>
        <p:nvSpPr>
          <p:cNvPr id="15" name="TextBox 14">
            <a:extLst>
              <a:ext uri="{FF2B5EF4-FFF2-40B4-BE49-F238E27FC236}">
                <a16:creationId xmlns:a16="http://schemas.microsoft.com/office/drawing/2014/main" id="{88775B6C-9C34-4020-DD10-7CF9644BBE20}"/>
              </a:ext>
            </a:extLst>
          </p:cNvPr>
          <p:cNvSpPr txBox="1"/>
          <p:nvPr/>
        </p:nvSpPr>
        <p:spPr>
          <a:xfrm>
            <a:off x="605232" y="5319126"/>
            <a:ext cx="5048350" cy="646331"/>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n-AU" sz="1200">
                <a:latin typeface="Segoe UI Light"/>
                <a:cs typeface="Segoe UI Light"/>
              </a:rPr>
              <a:t>Most operators saw an increase in Revenues in 2018, followed by decline through 2019 and 2020, and increasing trends in 2021. Exception to this trend are for WED and Caithness shepherds.</a:t>
            </a:r>
          </a:p>
        </p:txBody>
      </p:sp>
      <p:pic>
        <p:nvPicPr>
          <p:cNvPr id="12" name="Picture 11">
            <a:extLst>
              <a:ext uri="{FF2B5EF4-FFF2-40B4-BE49-F238E27FC236}">
                <a16:creationId xmlns:a16="http://schemas.microsoft.com/office/drawing/2014/main" id="{719A15E3-7CD1-00BB-2CC1-D276E7F52BF9}"/>
              </a:ext>
            </a:extLst>
          </p:cNvPr>
          <p:cNvPicPr>
            <a:picLocks noChangeAspect="1"/>
          </p:cNvPicPr>
          <p:nvPr/>
        </p:nvPicPr>
        <p:blipFill>
          <a:blip r:embed="rId6"/>
          <a:stretch>
            <a:fillRect/>
          </a:stretch>
        </p:blipFill>
        <p:spPr>
          <a:xfrm>
            <a:off x="720960" y="1992384"/>
            <a:ext cx="4598502" cy="2976067"/>
          </a:xfrm>
          <a:prstGeom prst="rect">
            <a:avLst/>
          </a:prstGeom>
        </p:spPr>
      </p:pic>
      <p:pic>
        <p:nvPicPr>
          <p:cNvPr id="13" name="Picture 12" descr="A screenshot of a phone&#10;&#10;Description automatically generated">
            <a:extLst>
              <a:ext uri="{FF2B5EF4-FFF2-40B4-BE49-F238E27FC236}">
                <a16:creationId xmlns:a16="http://schemas.microsoft.com/office/drawing/2014/main" id="{8063CF33-F327-0C12-7447-ADE137E4D66D}"/>
              </a:ext>
            </a:extLst>
          </p:cNvPr>
          <p:cNvPicPr>
            <a:picLocks noChangeAspect="1"/>
          </p:cNvPicPr>
          <p:nvPr/>
        </p:nvPicPr>
        <p:blipFill>
          <a:blip r:embed="rId7"/>
          <a:stretch>
            <a:fillRect/>
          </a:stretch>
        </p:blipFill>
        <p:spPr>
          <a:xfrm>
            <a:off x="4517341" y="1967417"/>
            <a:ext cx="1057691" cy="1292917"/>
          </a:xfrm>
          <a:prstGeom prst="rect">
            <a:avLst/>
          </a:prstGeom>
        </p:spPr>
      </p:pic>
      <p:pic>
        <p:nvPicPr>
          <p:cNvPr id="14" name="Picture 13">
            <a:extLst>
              <a:ext uri="{FF2B5EF4-FFF2-40B4-BE49-F238E27FC236}">
                <a16:creationId xmlns:a16="http://schemas.microsoft.com/office/drawing/2014/main" id="{46DD8DE1-2FF9-0504-743A-D6370931D41A}"/>
              </a:ext>
            </a:extLst>
          </p:cNvPr>
          <p:cNvPicPr>
            <a:picLocks noChangeAspect="1"/>
          </p:cNvPicPr>
          <p:nvPr/>
        </p:nvPicPr>
        <p:blipFill>
          <a:blip r:embed="rId8"/>
          <a:stretch>
            <a:fillRect/>
          </a:stretch>
        </p:blipFill>
        <p:spPr>
          <a:xfrm>
            <a:off x="6528896" y="2101079"/>
            <a:ext cx="5150342" cy="3299776"/>
          </a:xfrm>
          <a:prstGeom prst="rect">
            <a:avLst/>
          </a:prstGeom>
        </p:spPr>
      </p:pic>
      <p:sp>
        <p:nvSpPr>
          <p:cNvPr id="16" name="Rectangle 15">
            <a:extLst>
              <a:ext uri="{FF2B5EF4-FFF2-40B4-BE49-F238E27FC236}">
                <a16:creationId xmlns:a16="http://schemas.microsoft.com/office/drawing/2014/main" id="{87632306-6D55-E648-1AA8-E10E33D0A099}"/>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PB</a:t>
            </a:r>
          </a:p>
        </p:txBody>
      </p:sp>
    </p:spTree>
    <p:extLst>
      <p:ext uri="{BB962C8B-B14F-4D97-AF65-F5344CB8AC3E}">
        <p14:creationId xmlns:p14="http://schemas.microsoft.com/office/powerpoint/2010/main" val="425831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641BDA-2511-C092-BA40-27C321E82F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F641BDA-2511-C092-BA40-27C321E82F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27673B-8413-CCDC-BA64-7D07EAE62EA3}"/>
              </a:ext>
            </a:extLst>
          </p:cNvPr>
          <p:cNvSpPr txBox="1">
            <a:spLocks/>
          </p:cNvSpPr>
          <p:nvPr/>
        </p:nvSpPr>
        <p:spPr>
          <a:xfrm>
            <a:off x="605232" y="672930"/>
            <a:ext cx="9939600" cy="458484"/>
          </a:xfrm>
          <a:prstGeom prst="rect">
            <a:avLst/>
          </a:prstGeom>
        </p:spPr>
        <p:txBody>
          <a:bodyPr vert="horz" lIns="0" tIns="0" rIns="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sz="2400">
                <a:latin typeface="Segoe UI Light"/>
                <a:cs typeface="Segoe UI Light"/>
              </a:rPr>
              <a:t>Power Plant | </a:t>
            </a:r>
            <a:r>
              <a:rPr lang="en-AU" sz="2400">
                <a:solidFill>
                  <a:schemeClr val="accent1"/>
                </a:solidFill>
                <a:latin typeface="Segoe UI Light"/>
                <a:cs typeface="Segoe UI Light"/>
              </a:rPr>
              <a:t>Revenue</a:t>
            </a:r>
            <a:endParaRPr lang="en-AU" sz="2400">
              <a:solidFill>
                <a:schemeClr val="accent1"/>
              </a:solidFill>
              <a:latin typeface="Segoe UI Light" panose="020B0502040204020203" pitchFamily="34" charset="0"/>
              <a:cs typeface="Segoe UI Light" panose="020B0502040204020203" pitchFamily="34" charset="0"/>
            </a:endParaRPr>
          </a:p>
        </p:txBody>
      </p:sp>
      <p:sp>
        <p:nvSpPr>
          <p:cNvPr id="2" name="Rounded Rectangle 61">
            <a:extLst>
              <a:ext uri="{FF2B5EF4-FFF2-40B4-BE49-F238E27FC236}">
                <a16:creationId xmlns:a16="http://schemas.microsoft.com/office/drawing/2014/main" id="{0A75B4C7-E620-27F2-4C08-D763BE9B9F7A}"/>
              </a:ext>
            </a:extLst>
          </p:cNvPr>
          <p:cNvSpPr/>
          <p:nvPr/>
        </p:nvSpPr>
        <p:spPr bwMode="gray">
          <a:xfrm>
            <a:off x="6630889"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endParaRPr lang="en-AU" sz="1100" b="1">
              <a:latin typeface="Segoe UI Semibold"/>
              <a:cs typeface="Segoe UI Semibold"/>
            </a:endParaRPr>
          </a:p>
        </p:txBody>
      </p:sp>
      <p:sp>
        <p:nvSpPr>
          <p:cNvPr id="3" name="Freeform 584">
            <a:extLst>
              <a:ext uri="{FF2B5EF4-FFF2-40B4-BE49-F238E27FC236}">
                <a16:creationId xmlns:a16="http://schemas.microsoft.com/office/drawing/2014/main" id="{4D39D4C2-4EA6-EE8F-5F3C-B3C24C0894BA}"/>
              </a:ext>
            </a:extLst>
          </p:cNvPr>
          <p:cNvSpPr>
            <a:spLocks noChangeAspect="1" noEditPoints="1"/>
          </p:cNvSpPr>
          <p:nvPr/>
        </p:nvSpPr>
        <p:spPr bwMode="auto">
          <a:xfrm>
            <a:off x="6528896" y="1633962"/>
            <a:ext cx="301625" cy="30162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lumMod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7" name="Rounded Rectangle 61">
            <a:extLst>
              <a:ext uri="{FF2B5EF4-FFF2-40B4-BE49-F238E27FC236}">
                <a16:creationId xmlns:a16="http://schemas.microsoft.com/office/drawing/2014/main" id="{7D1DB623-6192-2888-9F62-A037949F23BC}"/>
              </a:ext>
            </a:extLst>
          </p:cNvPr>
          <p:cNvSpPr/>
          <p:nvPr/>
        </p:nvSpPr>
        <p:spPr bwMode="gray">
          <a:xfrm>
            <a:off x="614757" y="1633962"/>
            <a:ext cx="5048349" cy="255588"/>
          </a:xfrm>
          <a:prstGeom prst="roundRect">
            <a:avLst>
              <a:gd name="adj" fmla="val 11495"/>
            </a:avLst>
          </a:prstGeom>
          <a:solidFill>
            <a:schemeClr val="bg2">
              <a:lumMod val="90000"/>
            </a:schemeClr>
          </a:solidFill>
          <a:ln w="6350" algn="ctr">
            <a:solidFill>
              <a:schemeClr val="bg2">
                <a:lumMod val="90000"/>
              </a:schemeClr>
            </a:solidFill>
            <a:miter lim="800000"/>
            <a:headEnd/>
            <a:tailEnd/>
          </a:ln>
          <a:effectLst/>
        </p:spPr>
        <p:txBody>
          <a:bodyPr wrap="square" lIns="88900" tIns="88900" rIns="88900" bIns="88900" rtlCol="0" anchor="ctr"/>
          <a:lstStyle/>
          <a:p>
            <a:pPr algn="ctr">
              <a:spcAft>
                <a:spcPts val="400"/>
              </a:spcAft>
            </a:pPr>
            <a:r>
              <a:rPr lang="en-AU" sz="1100" b="1">
                <a:latin typeface="Segoe UI Semibold"/>
                <a:cs typeface="Segoe UI Semibold"/>
              </a:rPr>
              <a:t>Plant Revenue Trend </a:t>
            </a:r>
          </a:p>
        </p:txBody>
      </p:sp>
      <p:pic>
        <p:nvPicPr>
          <p:cNvPr id="8" name="Picture 7">
            <a:extLst>
              <a:ext uri="{FF2B5EF4-FFF2-40B4-BE49-F238E27FC236}">
                <a16:creationId xmlns:a16="http://schemas.microsoft.com/office/drawing/2014/main" id="{F412E917-C871-B19C-E7DA-AF15E97DF501}"/>
              </a:ext>
            </a:extLst>
          </p:cNvPr>
          <p:cNvPicPr>
            <a:picLocks noChangeAspect="1"/>
          </p:cNvPicPr>
          <p:nvPr/>
        </p:nvPicPr>
        <p:blipFill>
          <a:blip r:embed="rId6"/>
          <a:stretch>
            <a:fillRect/>
          </a:stretch>
        </p:blipFill>
        <p:spPr>
          <a:xfrm>
            <a:off x="614757" y="2127713"/>
            <a:ext cx="4813850" cy="3243732"/>
          </a:xfrm>
          <a:prstGeom prst="rect">
            <a:avLst/>
          </a:prstGeom>
        </p:spPr>
      </p:pic>
      <p:pic>
        <p:nvPicPr>
          <p:cNvPr id="11" name="Picture 10" descr="A screenshot of a plant name&#10;&#10;Description automatically generated">
            <a:extLst>
              <a:ext uri="{FF2B5EF4-FFF2-40B4-BE49-F238E27FC236}">
                <a16:creationId xmlns:a16="http://schemas.microsoft.com/office/drawing/2014/main" id="{8D5DBD94-ECCA-632F-038C-198641869AF3}"/>
              </a:ext>
            </a:extLst>
          </p:cNvPr>
          <p:cNvPicPr>
            <a:picLocks noChangeAspect="1"/>
          </p:cNvPicPr>
          <p:nvPr/>
        </p:nvPicPr>
        <p:blipFill>
          <a:blip r:embed="rId7"/>
          <a:stretch>
            <a:fillRect/>
          </a:stretch>
        </p:blipFill>
        <p:spPr>
          <a:xfrm>
            <a:off x="4679910" y="2127713"/>
            <a:ext cx="919784" cy="1008408"/>
          </a:xfrm>
          <a:prstGeom prst="rect">
            <a:avLst/>
          </a:prstGeom>
        </p:spPr>
      </p:pic>
      <p:pic>
        <p:nvPicPr>
          <p:cNvPr id="14" name="Picture 13" descr="A graph with numbers and a bar&#10;&#10;Description automatically generated">
            <a:extLst>
              <a:ext uri="{FF2B5EF4-FFF2-40B4-BE49-F238E27FC236}">
                <a16:creationId xmlns:a16="http://schemas.microsoft.com/office/drawing/2014/main" id="{C8406CD0-157C-224C-7483-C62FB53DDC11}"/>
              </a:ext>
            </a:extLst>
          </p:cNvPr>
          <p:cNvPicPr>
            <a:picLocks noChangeAspect="1"/>
          </p:cNvPicPr>
          <p:nvPr/>
        </p:nvPicPr>
        <p:blipFill>
          <a:blip r:embed="rId8"/>
          <a:stretch>
            <a:fillRect/>
          </a:stretch>
        </p:blipFill>
        <p:spPr>
          <a:xfrm>
            <a:off x="6592308" y="2088492"/>
            <a:ext cx="5243521" cy="3135546"/>
          </a:xfrm>
          <a:prstGeom prst="rect">
            <a:avLst/>
          </a:prstGeom>
        </p:spPr>
      </p:pic>
      <p:sp>
        <p:nvSpPr>
          <p:cNvPr id="16" name="Rectangle 15">
            <a:extLst>
              <a:ext uri="{FF2B5EF4-FFF2-40B4-BE49-F238E27FC236}">
                <a16:creationId xmlns:a16="http://schemas.microsoft.com/office/drawing/2014/main" id="{C22F8919-1E2D-3B39-45AE-01294F027C68}"/>
              </a:ext>
            </a:extLst>
          </p:cNvPr>
          <p:cNvSpPr/>
          <p:nvPr/>
        </p:nvSpPr>
        <p:spPr>
          <a:xfrm>
            <a:off x="-1162050" y="0"/>
            <a:ext cx="990600" cy="458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PB</a:t>
            </a:r>
          </a:p>
        </p:txBody>
      </p:sp>
    </p:spTree>
    <p:extLst>
      <p:ext uri="{BB962C8B-B14F-4D97-AF65-F5344CB8AC3E}">
        <p14:creationId xmlns:p14="http://schemas.microsoft.com/office/powerpoint/2010/main" val="845889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09509999999999996234E+00&quot;&gt;&lt;m_msothmcolidx val=&quot;0&quot;/&gt;&lt;m_rgb r=&quot;20&quot; g=&quot;38&quot; b=&quot;64&quot;/&gt;&lt;/elem&gt;&lt;elem m_fUsage=&quot;1.59049000000000018140E+00&quot;&gt;&lt;m_msothmcolidx val=&quot;0&quot;/&gt;&lt;m_rgb r=&quot;8F&quot; g=&quot;AA&quot; b=&quot;DC&quot;/&gt;&lt;/elem&gt;&lt;elem m_fUsage=&quot;5.31441000000000163261E-01&quot;&gt;&lt;m_msothmcolidx val=&quot;0&quot;/&gt;&lt;m_rgb r=&quot;B4&quot; g=&quot;C7&quot; b=&quot;E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D4qQ1yYxDcD3pxanzJc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FwfVW6mWFEKHf4bN4Ji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DjKYZjrIBeLBTqhuZPa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LM9TTEzM0xTwt_P87I0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w7ot96BeVSpN4.QP.7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_pc5x3p3HygVnImnPry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0Om.sp.h9v_r6To_lW1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bKVht9QAxEIvPzuhzUb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5F0_B.VRkzKiFixgU10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oq1aFXhXJkMMTOGi9J2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i7FGycepUI4EehI3yA_x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iJ5royh9DSN7awpm141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5dIUo4Sio0gDwMt43Bj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qB_SMKHSGOUr_c_sLmS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tYjNUELnrp_D2qtvgxS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CPYU7Kys9Uo.pkjEO1X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8qDLcyusfCetI69DrcM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tmSKQfiYmSMY9HIDYmD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tJprgH_jN.omh0CNvqp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AATpSSMHLNP5QIkB3MY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ZUpKX810Ol2fRCoFjF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esadqXl72Jcsef1aOxU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i.RIN0JNNzcGxGjFM6W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2NaXEq5PbkDxNT79yXj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eQMW4J0ENg6gsBLjr.z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rA9eME57PenHEOjAnhp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c1ranVqZQjr4ng8djPQ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HvpBYF_fdaaqi164j6D2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P2tXIwe507rlrGX1xbe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AOSTUAjDP2iR5J_wfjY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APzrlnlnQgJLZEYIKw8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yI00PIjmGlhknvqg0D6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J56divYkyqHGI_OuLAA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iVEbeXITooK30jtRzks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oSkKiGqYBWKsGz9i0ej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VCI5mDEmfPwBBJFW1Da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TsgJbDE27xkfGFtVYmz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j9ct6qgxIJ0ztkOVizR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z6crOvJwnplPnZJfp5q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I3unXRILbOLy7yQJBcA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TsaCGFW8OJYIJU8HSSC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cvHGD5HQns_K.6wU.A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U0KefnPYO2Y7fA9n1BQ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B1TDOQanpnYTOyVeQZQ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uCCx_o4p3MOf62wZz8K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zrml3qPq_lHKmAb3NRL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dP4oMrEGJAQn4BoJ9u0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DKt_x_mNsUEpO.JspS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UAER9jpuzs5vFmApJsm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W8dG9miC9wg_sfAc5dK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_Wze1tjnpsyKbFqtxGE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OIyzE7k4CRI9I8mzj2Tk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1Ur5BVng7OD1EMvp8A_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9wAjmXaJGx711tkA9g9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2_CDkMq6Wj6apvfDDH4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D4qQ1yYxDcD3pxanzJc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0LQjhc0TVreqTehitAy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mJ.2qWBqZbmft4idzH5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ipcxpoYiioU.1o7JC6d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nyITLP9ShKWj7l69Dr.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bKVht9QAxEIvPzuhzUb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5F0_B.VRkzKiFixgU10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oq1aFXhXJkMMTOGi9J2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i7FGycepUI4EehI3yA_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nillaVTI">
  <a:themeElements>
    <a:clrScheme name="Vanilla">
      <a:dk1>
        <a:sysClr val="windowText" lastClr="000000"/>
      </a:dk1>
      <a:lt1>
        <a:sysClr val="window" lastClr="FFFFFF"/>
      </a:lt1>
      <a:dk2>
        <a:srgbClr val="2C3932"/>
      </a:dk2>
      <a:lt2>
        <a:srgbClr val="FDF6EA"/>
      </a:lt2>
      <a:accent1>
        <a:srgbClr val="169C9A"/>
      </a:accent1>
      <a:accent2>
        <a:srgbClr val="FA9A42"/>
      </a:accent2>
      <a:accent3>
        <a:srgbClr val="E15C3D"/>
      </a:accent3>
      <a:accent4>
        <a:srgbClr val="E78A67"/>
      </a:accent4>
      <a:accent5>
        <a:srgbClr val="A74B40"/>
      </a:accent5>
      <a:accent6>
        <a:srgbClr val="3D9072"/>
      </a:accent6>
      <a:hlink>
        <a:srgbClr val="169C9A"/>
      </a:hlink>
      <a:folHlink>
        <a:srgbClr val="E15C3D"/>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nillaVTI" id="{54D376C6-1C9B-4C6B-8F3C-483BB307BB05}" vid="{7690D8A9-C071-45EF-BA7A-F7FA9779B11D}"/>
    </a:ext>
  </a:extLst>
</a:theme>
</file>

<file path=ppt/theme/theme3.xml><?xml version="1.0" encoding="utf-8"?>
<a:theme xmlns:a="http://schemas.openxmlformats.org/drawingml/2006/main" name="VanillaVTI">
  <a:themeElements>
    <a:clrScheme name="Vanilla">
      <a:dk1>
        <a:sysClr val="windowText" lastClr="000000"/>
      </a:dk1>
      <a:lt1>
        <a:sysClr val="window" lastClr="FFFFFF"/>
      </a:lt1>
      <a:dk2>
        <a:srgbClr val="2C3932"/>
      </a:dk2>
      <a:lt2>
        <a:srgbClr val="FDF6EA"/>
      </a:lt2>
      <a:accent1>
        <a:srgbClr val="169C9A"/>
      </a:accent1>
      <a:accent2>
        <a:srgbClr val="FA9A42"/>
      </a:accent2>
      <a:accent3>
        <a:srgbClr val="E15C3D"/>
      </a:accent3>
      <a:accent4>
        <a:srgbClr val="E78A67"/>
      </a:accent4>
      <a:accent5>
        <a:srgbClr val="A74B40"/>
      </a:accent5>
      <a:accent6>
        <a:srgbClr val="3D9072"/>
      </a:accent6>
      <a:hlink>
        <a:srgbClr val="169C9A"/>
      </a:hlink>
      <a:folHlink>
        <a:srgbClr val="E15C3D"/>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nillaVTI" id="{54D376C6-1C9B-4C6B-8F3C-483BB307BB05}" vid="{7690D8A9-C071-45EF-BA7A-F7FA9779B11D}"/>
    </a:ext>
  </a:extLst>
</a:theme>
</file>

<file path=ppt/theme/theme4.xml><?xml version="1.0" encoding="utf-8"?>
<a:theme xmlns:a="http://schemas.openxmlformats.org/drawingml/2006/main" name="VanillaVTI">
  <a:themeElements>
    <a:clrScheme name="Vanilla">
      <a:dk1>
        <a:sysClr val="windowText" lastClr="000000"/>
      </a:dk1>
      <a:lt1>
        <a:sysClr val="window" lastClr="FFFFFF"/>
      </a:lt1>
      <a:dk2>
        <a:srgbClr val="2C3932"/>
      </a:dk2>
      <a:lt2>
        <a:srgbClr val="FDF6EA"/>
      </a:lt2>
      <a:accent1>
        <a:srgbClr val="169C9A"/>
      </a:accent1>
      <a:accent2>
        <a:srgbClr val="FA9A42"/>
      </a:accent2>
      <a:accent3>
        <a:srgbClr val="E15C3D"/>
      </a:accent3>
      <a:accent4>
        <a:srgbClr val="E78A67"/>
      </a:accent4>
      <a:accent5>
        <a:srgbClr val="A74B40"/>
      </a:accent5>
      <a:accent6>
        <a:srgbClr val="3D9072"/>
      </a:accent6>
      <a:hlink>
        <a:srgbClr val="169C9A"/>
      </a:hlink>
      <a:folHlink>
        <a:srgbClr val="E15C3D"/>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nillaVTI" id="{54D376C6-1C9B-4C6B-8F3C-483BB307BB05}" vid="{7690D8A9-C071-45EF-BA7A-F7FA9779B11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9</Slides>
  <Notes>10</Notes>
  <HiddenSlides>1</HiddenSlides>
  <ScaleCrop>false</ScaleCrop>
  <HeadingPairs>
    <vt:vector size="4" baseType="variant">
      <vt:variant>
        <vt:lpstr>Theme</vt:lpstr>
      </vt:variant>
      <vt:variant>
        <vt:i4>4</vt:i4>
      </vt:variant>
      <vt:variant>
        <vt:lpstr>Slide Titles</vt:lpstr>
      </vt:variant>
      <vt:variant>
        <vt:i4>59</vt:i4>
      </vt:variant>
    </vt:vector>
  </HeadingPairs>
  <TitlesOfParts>
    <vt:vector size="63" baseType="lpstr">
      <vt:lpstr>Office Theme</vt:lpstr>
      <vt:lpstr>VanillaVTI</vt:lpstr>
      <vt:lpstr>VanillaVTI</vt:lpstr>
      <vt:lpstr>VanillaVTI</vt:lpstr>
      <vt:lpstr>PowerPoint Presentation</vt:lpstr>
      <vt:lpstr>US Wind Turbine Industry | focus and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ground Information – current global state</vt:lpstr>
      <vt:lpstr>Background Information – US current state </vt:lpstr>
      <vt:lpstr>Snapshot </vt:lpstr>
      <vt:lpstr>Wind Energy Industry Trends</vt:lpstr>
      <vt:lpstr>Analysis – operators (to clarify: operators only in the wind energy market or diversity) </vt:lpstr>
      <vt:lpstr>Analysis – Attributes of wind turbines</vt:lpstr>
      <vt:lpstr>Recommendation</vt:lpstr>
      <vt:lpstr>Funding * to clarify (consider in the recommendation) </vt:lpstr>
      <vt:lpstr>PowerPoint Presentation</vt:lpstr>
      <vt:lpstr>County to capacity Comparison</vt:lpstr>
      <vt:lpstr>Desirable plants to invest int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14-16</vt:lpstr>
      <vt:lpstr>PowerPoint Presentation</vt:lpstr>
      <vt:lpstr>Q15</vt:lpstr>
      <vt:lpstr>8</vt:lpstr>
      <vt:lpstr>8 cont.</vt:lpstr>
      <vt:lpstr>8 cont.</vt:lpstr>
      <vt:lpstr>8 cont.</vt:lpstr>
      <vt:lpstr>8 cont.</vt:lpstr>
      <vt:lpstr>10. Top 10 wind-energy operators in US</vt:lpstr>
      <vt:lpstr>10. Top 5 Operators by most Potential Company to Invest</vt:lpstr>
      <vt:lpstr>12. Top Manufacturers | 2017 - 2021</vt:lpstr>
      <vt:lpstr>12. Quality of turbines by manufacturer (retrofit)</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m, Sharon</dc:creator>
  <cp:revision>1</cp:revision>
  <dcterms:created xsi:type="dcterms:W3CDTF">2023-08-29T14:47:53Z</dcterms:created>
  <dcterms:modified xsi:type="dcterms:W3CDTF">2023-09-01T04:2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8-29T14:47: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609d45d-6a2a-4fce-a9a8-245aa1b1965e</vt:lpwstr>
  </property>
  <property fmtid="{D5CDD505-2E9C-101B-9397-08002B2CF9AE}" pid="8" name="MSIP_Label_ea60d57e-af5b-4752-ac57-3e4f28ca11dc_ContentBits">
    <vt:lpwstr>0</vt:lpwstr>
  </property>
</Properties>
</file>